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8"/>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84455777-5817-49A4-913A-285A4F550FB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05</c:v>
                </c:pt>
                <c:pt idx="3">
                  <c:v>3.2000000000000001E-2</c:v>
                </c:pt>
                <c:pt idx="4">
                  <c:v>4.6399999999999997E-2</c:v>
                </c:pt>
                <c:pt idx="5">
                  <c:v>0.12379999999999999</c:v>
                </c:pt>
                <c:pt idx="6">
                  <c:v>1.38E-2</c:v>
                </c:pt>
                <c:pt idx="7">
                  <c:v>0.30109999999999998</c:v>
                </c:pt>
                <c:pt idx="8">
                  <c:v>0.32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05</c:v>
                </c:pt>
                <c:pt idx="3">
                  <c:v>3.2000000000000001E-2</c:v>
                </c:pt>
                <c:pt idx="4">
                  <c:v>4.6399999999999997E-2</c:v>
                </c:pt>
                <c:pt idx="5">
                  <c:v>0.12379999999999999</c:v>
                </c:pt>
                <c:pt idx="6">
                  <c:v>1.38E-2</c:v>
                </c:pt>
                <c:pt idx="7">
                  <c:v>0.30109999999999998</c:v>
                </c:pt>
                <c:pt idx="8">
                  <c:v>0.32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54865016887852E-2</c:v>
                </c:pt>
                <c:pt idx="1">
                  <c:v>1.7854306339291241E-2</c:v>
                </c:pt>
                <c:pt idx="2">
                  <c:v>1.9757008334856999E-2</c:v>
                </c:pt>
                <c:pt idx="3">
                  <c:v>7.1916156947476731E-2</c:v>
                </c:pt>
                <c:pt idx="4">
                  <c:v>8.5814770730434295E-2</c:v>
                </c:pt>
                <c:pt idx="5">
                  <c:v>9.9084588506396107E-2</c:v>
                </c:pt>
                <c:pt idx="6">
                  <c:v>0.10769317427022629</c:v>
                </c:pt>
                <c:pt idx="7">
                  <c:v>0.1868790002725855</c:v>
                </c:pt>
                <c:pt idx="8">
                  <c:v>0.1795843643903467</c:v>
                </c:pt>
                <c:pt idx="9">
                  <c:v>0.14013474962838257</c:v>
                </c:pt>
                <c:pt idx="10">
                  <c:v>5.952701556311577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5.1773591156684183E-4</c:v>
                </c:pt>
                <c:pt idx="3">
                  <c:v>4.2197794963857319E-3</c:v>
                </c:pt>
                <c:pt idx="4">
                  <c:v>4.8353028371337873E-3</c:v>
                </c:pt>
                <c:pt idx="5">
                  <c:v>6.3760037422858242E-5</c:v>
                </c:pt>
                <c:pt idx="6">
                  <c:v>5.3313528979945268E-4</c:v>
                </c:pt>
                <c:pt idx="7">
                  <c:v>5.2191660859829273E-3</c:v>
                </c:pt>
                <c:pt idx="8">
                  <c:v>1.9947291206531614E-4</c:v>
                </c:pt>
                <c:pt idx="10">
                  <c:v>1.2947598871783699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524499781294395E-2</c:v>
                </c:pt>
                <c:pt idx="1">
                  <c:v>3.0788563674620463E-4</c:v>
                </c:pt>
                <c:pt idx="2">
                  <c:v>2.0201725298403519E-3</c:v>
                </c:pt>
                <c:pt idx="3">
                  <c:v>2.9713822059589483E-2</c:v>
                </c:pt>
                <c:pt idx="4">
                  <c:v>3.7113870680302571E-2</c:v>
                </c:pt>
                <c:pt idx="5">
                  <c:v>1.7732229765588213E-2</c:v>
                </c:pt>
                <c:pt idx="6">
                  <c:v>2.4990044880482353E-2</c:v>
                </c:pt>
                <c:pt idx="7">
                  <c:v>6.5161430428574696E-2</c:v>
                </c:pt>
                <c:pt idx="8">
                  <c:v>8.7280141403426992E-2</c:v>
                </c:pt>
                <c:pt idx="9">
                  <c:v>0.10901798911563682</c:v>
                </c:pt>
                <c:pt idx="10">
                  <c:v>5.25631687935848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109278530617445E-3</c:v>
                </c:pt>
                <c:pt idx="1">
                  <c:v>2.4577297466916054E-4</c:v>
                </c:pt>
                <c:pt idx="2">
                  <c:v>1.1109232668569356E-3</c:v>
                </c:pt>
                <c:pt idx="3">
                  <c:v>4.9325393046608832E-4</c:v>
                </c:pt>
                <c:pt idx="4">
                  <c:v>3.5634161230261451E-3</c:v>
                </c:pt>
                <c:pt idx="5">
                  <c:v>1.3970158908553118E-2</c:v>
                </c:pt>
                <c:pt idx="6">
                  <c:v>7.7404630335184488E-3</c:v>
                </c:pt>
                <c:pt idx="7">
                  <c:v>1.877042058448497E-2</c:v>
                </c:pt>
                <c:pt idx="8">
                  <c:v>1.1120805618114115E-2</c:v>
                </c:pt>
                <c:pt idx="9">
                  <c:v>1.22748195959396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790845683411997E-4</c:v>
                </c:pt>
                <c:pt idx="1">
                  <c:v>1.8695644068788015E-3</c:v>
                </c:pt>
                <c:pt idx="2">
                  <c:v>1.0806010922225264E-4</c:v>
                </c:pt>
                <c:pt idx="3">
                  <c:v>8.0737645313691379E-4</c:v>
                </c:pt>
                <c:pt idx="4">
                  <c:v>2.624971401990992E-3</c:v>
                </c:pt>
                <c:pt idx="5">
                  <c:v>1.1129585192072491E-2</c:v>
                </c:pt>
                <c:pt idx="6">
                  <c:v>3.8826625890802722E-3</c:v>
                </c:pt>
                <c:pt idx="7">
                  <c:v>6.9707255257826376E-3</c:v>
                </c:pt>
                <c:pt idx="8">
                  <c:v>4.157881709353794E-3</c:v>
                </c:pt>
                <c:pt idx="9">
                  <c:v>1.6670887537985396E-3</c:v>
                </c:pt>
                <c:pt idx="10">
                  <c:v>4.983285627813463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181528925697584E-2</c:v>
                </c:pt>
                <c:pt idx="1">
                  <c:v>1.5431083320997073E-2</c:v>
                </c:pt>
                <c:pt idx="2">
                  <c:v>1.6000116517370613E-2</c:v>
                </c:pt>
                <c:pt idx="3">
                  <c:v>3.6681925007898519E-2</c:v>
                </c:pt>
                <c:pt idx="4">
                  <c:v>3.7677209687980801E-2</c:v>
                </c:pt>
                <c:pt idx="5">
                  <c:v>5.6188854602759415E-2</c:v>
                </c:pt>
                <c:pt idx="6">
                  <c:v>7.0546868477345759E-2</c:v>
                </c:pt>
                <c:pt idx="7">
                  <c:v>9.0757257647760298E-2</c:v>
                </c:pt>
                <c:pt idx="8">
                  <c:v>7.6826062747386431E-2</c:v>
                </c:pt>
                <c:pt idx="9">
                  <c:v>1.7174852163007546E-2</c:v>
                </c:pt>
                <c:pt idx="10">
                  <c:v>1.98043166572878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8110296604864E-2</c:v>
                </c:pt>
                <c:pt idx="1">
                  <c:v>1.9858810620282621E-2</c:v>
                </c:pt>
                <c:pt idx="2">
                  <c:v>2.0672714894646352E-2</c:v>
                </c:pt>
                <c:pt idx="3">
                  <c:v>3.8161812694447787E-2</c:v>
                </c:pt>
                <c:pt idx="4">
                  <c:v>6.1731993688228556E-2</c:v>
                </c:pt>
                <c:pt idx="5">
                  <c:v>9.8981786600117777E-2</c:v>
                </c:pt>
                <c:pt idx="6">
                  <c:v>0.13314597481758586</c:v>
                </c:pt>
                <c:pt idx="7">
                  <c:v>0.17875425689666183</c:v>
                </c:pt>
                <c:pt idx="8">
                  <c:v>0.24426115458186037</c:v>
                </c:pt>
                <c:pt idx="9">
                  <c:v>9.5031807146880379E-2</c:v>
                </c:pt>
                <c:pt idx="10">
                  <c:v>9.269157776268363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005985421496842E-8</c:v>
                </c:pt>
                <c:pt idx="2">
                  <c:v>2.6931134221245748E-8</c:v>
                </c:pt>
                <c:pt idx="3">
                  <c:v>7.4049723540980869E-3</c:v>
                </c:pt>
                <c:pt idx="4">
                  <c:v>4.1248402298920406E-3</c:v>
                </c:pt>
                <c:pt idx="5">
                  <c:v>4.3534863288913952E-3</c:v>
                </c:pt>
                <c:pt idx="6">
                  <c:v>2.3692272906042297E-3</c:v>
                </c:pt>
                <c:pt idx="7">
                  <c:v>7.3958388522921961E-3</c:v>
                </c:pt>
                <c:pt idx="8">
                  <c:v>1.8738036843921483E-3</c:v>
                </c:pt>
                <c:pt idx="9">
                  <c:v>1.382105808234331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73189813964219E-4</c:v>
                </c:pt>
                <c:pt idx="1">
                  <c:v>2.5333548560802343E-3</c:v>
                </c:pt>
                <c:pt idx="2">
                  <c:v>3.0262100015485864E-3</c:v>
                </c:pt>
                <c:pt idx="3">
                  <c:v>4.7130762192403126E-3</c:v>
                </c:pt>
                <c:pt idx="4">
                  <c:v>1.9800482400325271E-2</c:v>
                </c:pt>
                <c:pt idx="5">
                  <c:v>1.4515981375178566E-2</c:v>
                </c:pt>
                <c:pt idx="6">
                  <c:v>3.3435394791314271E-2</c:v>
                </c:pt>
                <c:pt idx="7">
                  <c:v>5.5243147729927299E-2</c:v>
                </c:pt>
                <c:pt idx="8">
                  <c:v>0.12135045966336895</c:v>
                </c:pt>
                <c:pt idx="9">
                  <c:v>6.6616531205523813E-2</c:v>
                </c:pt>
                <c:pt idx="10">
                  <c:v>7.79209825194285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271468442961797E-4</c:v>
                </c:pt>
                <c:pt idx="3">
                  <c:v>3.0477656813792715E-4</c:v>
                </c:pt>
                <c:pt idx="4">
                  <c:v>9.0838484889968593E-4</c:v>
                </c:pt>
                <c:pt idx="5">
                  <c:v>2.0948338125259296E-2</c:v>
                </c:pt>
                <c:pt idx="6">
                  <c:v>9.7376310117347539E-3</c:v>
                </c:pt>
                <c:pt idx="7">
                  <c:v>2.453462492221442E-3</c:v>
                </c:pt>
                <c:pt idx="8">
                  <c:v>1.1366839209980748E-3</c:v>
                </c:pt>
                <c:pt idx="10">
                  <c:v>7.480699625684319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650795025857059E-5</c:v>
                </c:pt>
                <c:pt idx="4">
                  <c:v>5.5129570672845553E-3</c:v>
                </c:pt>
                <c:pt idx="5">
                  <c:v>5.1707777704791841E-7</c:v>
                </c:pt>
                <c:pt idx="6">
                  <c:v>1.2561755937774935E-2</c:v>
                </c:pt>
                <c:pt idx="7">
                  <c:v>2.8590022837786488E-3</c:v>
                </c:pt>
                <c:pt idx="8">
                  <c:v>1.64627391937931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570759745394E-2</c:v>
                </c:pt>
                <c:pt idx="1">
                  <c:v>1.7325455764202389E-2</c:v>
                </c:pt>
                <c:pt idx="2">
                  <c:v>1.6923763277533931E-2</c:v>
                </c:pt>
                <c:pt idx="3">
                  <c:v>2.5738987552971462E-2</c:v>
                </c:pt>
                <c:pt idx="4">
                  <c:v>3.1385329141827005E-2</c:v>
                </c:pt>
                <c:pt idx="5">
                  <c:v>5.9163463693011467E-2</c:v>
                </c:pt>
                <c:pt idx="6">
                  <c:v>7.5041965786157697E-2</c:v>
                </c:pt>
                <c:pt idx="7">
                  <c:v>0.11080280553844223</c:v>
                </c:pt>
                <c:pt idx="8">
                  <c:v>0.10343746811930804</c:v>
                </c:pt>
                <c:pt idx="9">
                  <c:v>2.8401454883274217E-2</c:v>
                </c:pt>
                <c:pt idx="10">
                  <c:v>1.47631145436293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E-2</c:v>
                </c:pt>
                <c:pt idx="1">
                  <c:v>2.6808770478219595E-2</c:v>
                </c:pt>
                <c:pt idx="2">
                  <c:v>3.3618921453349215E-2</c:v>
                </c:pt>
                <c:pt idx="3">
                  <c:v>4.3193698660743136E-2</c:v>
                </c:pt>
                <c:pt idx="4">
                  <c:v>6.0866470201537952E-2</c:v>
                </c:pt>
                <c:pt idx="5">
                  <c:v>0.11629275414523582</c:v>
                </c:pt>
                <c:pt idx="6">
                  <c:v>0.14114999538782796</c:v>
                </c:pt>
                <c:pt idx="7">
                  <c:v>0.18708207317322248</c:v>
                </c:pt>
                <c:pt idx="8">
                  <c:v>0.19672272953911321</c:v>
                </c:pt>
                <c:pt idx="9">
                  <c:v>0.14353338057932885</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6163481912452955E-7</c:v>
                </c:pt>
                <c:pt idx="1">
                  <c:v>2.1857567294402178E-6</c:v>
                </c:pt>
                <c:pt idx="2">
                  <c:v>3.3935563242649154E-6</c:v>
                </c:pt>
                <c:pt idx="3">
                  <c:v>7.3350570736685104E-3</c:v>
                </c:pt>
                <c:pt idx="4">
                  <c:v>7.9841907685930073E-3</c:v>
                </c:pt>
                <c:pt idx="5">
                  <c:v>3.7744728815551137E-3</c:v>
                </c:pt>
                <c:pt idx="6">
                  <c:v>3.4438242223271344E-3</c:v>
                </c:pt>
                <c:pt idx="7">
                  <c:v>4.3662901763043098E-3</c:v>
                </c:pt>
                <c:pt idx="8">
                  <c:v>1.9560900311123767E-3</c:v>
                </c:pt>
                <c:pt idx="9">
                  <c:v>1.5140984734152224E-3</c:v>
                </c:pt>
                <c:pt idx="10">
                  <c:v>1.352014471818691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6590323336786E-2</c:v>
                </c:pt>
                <c:pt idx="1">
                  <c:v>2.5182242988042839E-2</c:v>
                </c:pt>
                <c:pt idx="2">
                  <c:v>2.1921688834085632E-2</c:v>
                </c:pt>
                <c:pt idx="3">
                  <c:v>3.2827763144875073E-2</c:v>
                </c:pt>
                <c:pt idx="4">
                  <c:v>3.1907537028206208E-2</c:v>
                </c:pt>
                <c:pt idx="5">
                  <c:v>5.8259033678482203E-2</c:v>
                </c:pt>
                <c:pt idx="6">
                  <c:v>8.4460627977552744E-2</c:v>
                </c:pt>
                <c:pt idx="7">
                  <c:v>0.1183457926274074</c:v>
                </c:pt>
                <c:pt idx="8">
                  <c:v>0.1029624097253177</c:v>
                </c:pt>
                <c:pt idx="9">
                  <c:v>3.3436899745008269E-2</c:v>
                </c:pt>
                <c:pt idx="10">
                  <c:v>1.043021929728813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8110296604864E-2</c:v>
                </c:pt>
                <c:pt idx="1">
                  <c:v>1.9858810620282621E-2</c:v>
                </c:pt>
                <c:pt idx="2">
                  <c:v>2.0672714894646352E-2</c:v>
                </c:pt>
                <c:pt idx="3">
                  <c:v>3.8161812694447787E-2</c:v>
                </c:pt>
                <c:pt idx="4">
                  <c:v>6.1731993688228556E-2</c:v>
                </c:pt>
                <c:pt idx="5">
                  <c:v>9.8981786600117777E-2</c:v>
                </c:pt>
                <c:pt idx="6">
                  <c:v>0.13314597481758586</c:v>
                </c:pt>
                <c:pt idx="7">
                  <c:v>0.17875425689666183</c:v>
                </c:pt>
                <c:pt idx="8">
                  <c:v>0.24426115458186037</c:v>
                </c:pt>
                <c:pt idx="9">
                  <c:v>9.5031807146880379E-2</c:v>
                </c:pt>
                <c:pt idx="10">
                  <c:v>9.269157776268363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540631649573792E-2</c:v>
                </c:pt>
                <c:pt idx="1">
                  <c:v>1.2093629714621367E-2</c:v>
                </c:pt>
                <c:pt idx="2">
                  <c:v>1.4394612949775013E-2</c:v>
                </c:pt>
                <c:pt idx="3">
                  <c:v>7.4180268807938307E-2</c:v>
                </c:pt>
                <c:pt idx="4">
                  <c:v>5.4718543977765807E-2</c:v>
                </c:pt>
                <c:pt idx="5">
                  <c:v>0.1256468879206534</c:v>
                </c:pt>
                <c:pt idx="6">
                  <c:v>0.11871841643855079</c:v>
                </c:pt>
                <c:pt idx="7">
                  <c:v>0.18860584810262948</c:v>
                </c:pt>
                <c:pt idx="8">
                  <c:v>0.21497156766096434</c:v>
                </c:pt>
                <c:pt idx="9">
                  <c:v>0.11387875955480223</c:v>
                </c:pt>
                <c:pt idx="10">
                  <c:v>6.82508332227254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1.0911140082494788E-3</c:v>
                </c:pt>
                <c:pt idx="3">
                  <c:v>8.8930677153461739E-3</c:v>
                </c:pt>
                <c:pt idx="4">
                  <c:v>1.0190266006000218E-2</c:v>
                </c:pt>
                <c:pt idx="5">
                  <c:v>1.3437250235945805E-4</c:v>
                </c:pt>
                <c:pt idx="6">
                  <c:v>1.1235677688106961E-3</c:v>
                </c:pt>
                <c:pt idx="7">
                  <c:v>1.099924710758907E-2</c:v>
                </c:pt>
                <c:pt idx="8">
                  <c:v>4.20383604378742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720745271640937E-4</c:v>
                </c:pt>
                <c:pt idx="2">
                  <c:v>3.1818851213278902E-3</c:v>
                </c:pt>
                <c:pt idx="3">
                  <c:v>2.7208948376122387E-2</c:v>
                </c:pt>
                <c:pt idx="4">
                  <c:v>8.7593396436525996E-3</c:v>
                </c:pt>
                <c:pt idx="5">
                  <c:v>1.3677814461816037E-2</c:v>
                </c:pt>
                <c:pt idx="6">
                  <c:v>2.707670655893752E-2</c:v>
                </c:pt>
                <c:pt idx="7">
                  <c:v>5.44657529862888E-2</c:v>
                </c:pt>
                <c:pt idx="8">
                  <c:v>7.0461671638516993E-2</c:v>
                </c:pt>
                <c:pt idx="9">
                  <c:v>8.31537452144782E-2</c:v>
                </c:pt>
                <c:pt idx="10">
                  <c:v>5.358171022632857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1175041174765293E-5</c:v>
                </c:pt>
                <c:pt idx="1">
                  <c:v>8.3683095658208188E-4</c:v>
                </c:pt>
                <c:pt idx="2">
                  <c:v>2.2773366936928503E-4</c:v>
                </c:pt>
                <c:pt idx="3">
                  <c:v>1.7015233795207435E-3</c:v>
                </c:pt>
                <c:pt idx="4">
                  <c:v>5.5320540916290531E-3</c:v>
                </c:pt>
                <c:pt idx="5">
                  <c:v>2.3204282047865035E-2</c:v>
                </c:pt>
                <c:pt idx="6">
                  <c:v>4.9362750381778727E-3</c:v>
                </c:pt>
                <c:pt idx="7">
                  <c:v>1.0724824146192359E-2</c:v>
                </c:pt>
                <c:pt idx="8">
                  <c:v>7.8827629903259581E-3</c:v>
                </c:pt>
                <c:pt idx="9">
                  <c:v>1.7297970492762226E-3</c:v>
                </c:pt>
                <c:pt idx="10">
                  <c:v>1.05021356141983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473908436341704E-6</c:v>
                </c:pt>
                <c:pt idx="1">
                  <c:v>1.1953898568076221E-5</c:v>
                </c:pt>
                <c:pt idx="2">
                  <c:v>5.1390733047545947E-4</c:v>
                </c:pt>
                <c:pt idx="3">
                  <c:v>1.3002985246683009E-3</c:v>
                </c:pt>
                <c:pt idx="4">
                  <c:v>5.773384667480337E-3</c:v>
                </c:pt>
                <c:pt idx="5">
                  <c:v>2.0822727562430789E-2</c:v>
                </c:pt>
                <c:pt idx="6">
                  <c:v>6.2255485733460391E-4</c:v>
                </c:pt>
                <c:pt idx="7">
                  <c:v>1.3421650369286059E-2</c:v>
                </c:pt>
                <c:pt idx="8">
                  <c:v>7.0342800306228803E-4</c:v>
                </c:pt>
                <c:pt idx="9">
                  <c:v>2.6473908436341704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456809217555391E-2</c:v>
                </c:pt>
                <c:pt idx="1">
                  <c:v>1.0872770332307116E-2</c:v>
                </c:pt>
                <c:pt idx="2">
                  <c:v>9.3799728203528988E-3</c:v>
                </c:pt>
                <c:pt idx="3">
                  <c:v>3.5076430812280707E-2</c:v>
                </c:pt>
                <c:pt idx="4">
                  <c:v>2.4463499569003611E-2</c:v>
                </c:pt>
                <c:pt idx="5">
                  <c:v>6.78076913461821E-2</c:v>
                </c:pt>
                <c:pt idx="6">
                  <c:v>8.49593122152901E-2</c:v>
                </c:pt>
                <c:pt idx="7">
                  <c:v>9.8994373493273211E-2</c:v>
                </c:pt>
                <c:pt idx="8">
                  <c:v>0.13550332142468038</c:v>
                </c:pt>
                <c:pt idx="9">
                  <c:v>2.8992569900204164E-2</c:v>
                </c:pt>
                <c:pt idx="10">
                  <c:v>4.16698738219850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26282793982239E-2</c:v>
                </c:pt>
                <c:pt idx="1">
                  <c:v>1.1038921196886058E-3</c:v>
                </c:pt>
                <c:pt idx="2">
                  <c:v>1.5283985064629768E-3</c:v>
                </c:pt>
                <c:pt idx="3">
                  <c:v>0.24076304159164355</c:v>
                </c:pt>
                <c:pt idx="4">
                  <c:v>0.25076624691744265</c:v>
                </c:pt>
                <c:pt idx="5">
                  <c:v>9.5022570744421747E-2</c:v>
                </c:pt>
                <c:pt idx="6">
                  <c:v>1.7767509229297949E-2</c:v>
                </c:pt>
                <c:pt idx="7">
                  <c:v>0.1586232953835337</c:v>
                </c:pt>
                <c:pt idx="8">
                  <c:v>0.20675803051853367</c:v>
                </c:pt>
                <c:pt idx="9">
                  <c:v>9.640732194992920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6575517088236E-5</c:v>
                </c:pt>
                <c:pt idx="3">
                  <c:v>0.23924680109143429</c:v>
                </c:pt>
                <c:pt idx="4">
                  <c:v>0.24636384199433134</c:v>
                </c:pt>
                <c:pt idx="5">
                  <c:v>3.6276016945006396E-3</c:v>
                </c:pt>
                <c:pt idx="6">
                  <c:v>9.0073457759649129E-4</c:v>
                </c:pt>
                <c:pt idx="7">
                  <c:v>4.8580577451545863E-2</c:v>
                </c:pt>
                <c:pt idx="8">
                  <c:v>4.2132135479022156E-2</c:v>
                </c:pt>
                <c:pt idx="9">
                  <c:v>6.202082372119530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6321252772669E-6</c:v>
                </c:pt>
                <c:pt idx="7">
                  <c:v>2.9625861764968077E-3</c:v>
                </c:pt>
                <c:pt idx="8">
                  <c:v>0.160235044793020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8105158819395804E-2</c:v>
                </c:pt>
                <c:pt idx="6">
                  <c:v>1.389120774672324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26282793982239E-2</c:v>
                </c:pt>
                <c:pt idx="1">
                  <c:v>1.1038921196886058E-3</c:v>
                </c:pt>
                <c:pt idx="2">
                  <c:v>1.4970619309458886E-3</c:v>
                </c:pt>
                <c:pt idx="3">
                  <c:v>1.5162405002092641E-3</c:v>
                </c:pt>
                <c:pt idx="4">
                  <c:v>4.3984192909860284E-3</c:v>
                </c:pt>
                <c:pt idx="5">
                  <c:v>3.2898102305253057E-3</c:v>
                </c:pt>
                <c:pt idx="6">
                  <c:v>1.6727862574234226E-2</c:v>
                </c:pt>
                <c:pt idx="7">
                  <c:v>0.10708013175549105</c:v>
                </c:pt>
                <c:pt idx="8">
                  <c:v>4.3908502464912362E-3</c:v>
                </c:pt>
                <c:pt idx="9">
                  <c:v>3.43864982287338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6</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5.3900186098649272E-2</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59193053968587E-3</c:v>
                </c:pt>
                <c:pt idx="3">
                  <c:v>0.38033761780311476</c:v>
                </c:pt>
                <c:pt idx="4">
                  <c:v>0.10777100894814891</c:v>
                </c:pt>
                <c:pt idx="5">
                  <c:v>0.11243914818391409</c:v>
                </c:pt>
                <c:pt idx="6">
                  <c:v>5.7058141649218149E-3</c:v>
                </c:pt>
                <c:pt idx="7">
                  <c:v>0.18411949957147977</c:v>
                </c:pt>
                <c:pt idx="8">
                  <c:v>0.201206486826311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6167359067666416E-3</c:v>
                </c:pt>
                <c:pt idx="3">
                  <c:v>7.2059097213102825E-4</c:v>
                </c:pt>
                <c:pt idx="4">
                  <c:v>1.0461460645121131E-3</c:v>
                </c:pt>
                <c:pt idx="5">
                  <c:v>2.7907972627108997E-3</c:v>
                </c:pt>
                <c:pt idx="6">
                  <c:v>3.1033515424119226E-4</c:v>
                </c:pt>
                <c:pt idx="7">
                  <c:v>6.787540706871052E-3</c:v>
                </c:pt>
                <c:pt idx="8">
                  <c:v>7.268086015617361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73189813964219E-4</c:v>
                </c:pt>
                <c:pt idx="1">
                  <c:v>2.5333548560802343E-3</c:v>
                </c:pt>
                <c:pt idx="2">
                  <c:v>3.0262100015485864E-3</c:v>
                </c:pt>
                <c:pt idx="3">
                  <c:v>4.7130762192403126E-3</c:v>
                </c:pt>
                <c:pt idx="4">
                  <c:v>1.9800482400325271E-2</c:v>
                </c:pt>
                <c:pt idx="5">
                  <c:v>1.4515981375178566E-2</c:v>
                </c:pt>
                <c:pt idx="6">
                  <c:v>3.3435394791314271E-2</c:v>
                </c:pt>
                <c:pt idx="7">
                  <c:v>5.5243147729927299E-2</c:v>
                </c:pt>
                <c:pt idx="8">
                  <c:v>0.12135045966336895</c:v>
                </c:pt>
                <c:pt idx="9">
                  <c:v>6.6616531205523813E-2</c:v>
                </c:pt>
                <c:pt idx="10">
                  <c:v>7.79209825194285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271468442961797E-4</c:v>
                </c:pt>
                <c:pt idx="3">
                  <c:v>3.0477656813792715E-4</c:v>
                </c:pt>
                <c:pt idx="4">
                  <c:v>9.0838484889968593E-4</c:v>
                </c:pt>
                <c:pt idx="5">
                  <c:v>2.0948338125259296E-2</c:v>
                </c:pt>
                <c:pt idx="6">
                  <c:v>9.7376310117347539E-3</c:v>
                </c:pt>
                <c:pt idx="7">
                  <c:v>2.453462492221442E-3</c:v>
                </c:pt>
                <c:pt idx="8">
                  <c:v>1.1366839209980748E-3</c:v>
                </c:pt>
                <c:pt idx="10">
                  <c:v>7.480699625684319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650795025857059E-5</c:v>
                </c:pt>
                <c:pt idx="4">
                  <c:v>5.5129570672845553E-3</c:v>
                </c:pt>
                <c:pt idx="5">
                  <c:v>5.1707777704791841E-7</c:v>
                </c:pt>
                <c:pt idx="6">
                  <c:v>1.2561755937774935E-2</c:v>
                </c:pt>
                <c:pt idx="7">
                  <c:v>2.8590022837786488E-3</c:v>
                </c:pt>
                <c:pt idx="8">
                  <c:v>1.64627391937931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5727603439363E-2</c:v>
                </c:pt>
                <c:pt idx="1">
                  <c:v>1.7325455764202389E-2</c:v>
                </c:pt>
                <c:pt idx="2">
                  <c:v>1.3307054301901511E-2</c:v>
                </c:pt>
                <c:pt idx="3">
                  <c:v>3.2423368934938523E-2</c:v>
                </c:pt>
                <c:pt idx="4">
                  <c:v>3.446402330720693E-2</c:v>
                </c:pt>
                <c:pt idx="5">
                  <c:v>6.0726152759191958E-2</c:v>
                </c:pt>
                <c:pt idx="6">
                  <c:v>7.7100857922520735E-2</c:v>
                </c:pt>
                <c:pt idx="7">
                  <c:v>0.11141110368386338</c:v>
                </c:pt>
                <c:pt idx="8">
                  <c:v>9.8043185788082826E-2</c:v>
                </c:pt>
                <c:pt idx="9">
                  <c:v>2.8415275941356559E-2</c:v>
                </c:pt>
                <c:pt idx="10">
                  <c:v>1.47631145436293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63333938111166E-3</c:v>
                </c:pt>
                <c:pt idx="3">
                  <c:v>0.38014120646885274</c:v>
                </c:pt>
                <c:pt idx="4">
                  <c:v>0.10727673538200906</c:v>
                </c:pt>
                <c:pt idx="7">
                  <c:v>3.8481144262277729E-2</c:v>
                </c:pt>
                <c:pt idx="8">
                  <c:v>4.2120395654506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99033031154107E-5</c:v>
                </c:pt>
                <c:pt idx="7">
                  <c:v>4.125237138976846E-3</c:v>
                </c:pt>
                <c:pt idx="8">
                  <c:v>0.139579260361047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0.11243914818391409</c:v>
                </c:pt>
                <c:pt idx="6">
                  <c:v>5.194465693769866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59115857424337E-6</c:v>
                </c:pt>
                <c:pt idx="3">
                  <c:v>1.9641133426203508E-4</c:v>
                </c:pt>
                <c:pt idx="4">
                  <c:v>4.9427356613984425E-4</c:v>
                </c:pt>
                <c:pt idx="6">
                  <c:v>4.4264943812079386E-4</c:v>
                </c:pt>
                <c:pt idx="7">
                  <c:v>0.14151311817022522</c:v>
                </c:pt>
                <c:pt idx="8">
                  <c:v>1.950683081075742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184898586465801E-3</c:v>
                </c:pt>
                <c:pt idx="2">
                  <c:v>4.5386028934183628E-2</c:v>
                </c:pt>
                <c:pt idx="3">
                  <c:v>7.906538469993625E-3</c:v>
                </c:pt>
                <c:pt idx="4">
                  <c:v>5.4808674259608251E-3</c:v>
                </c:pt>
                <c:pt idx="5">
                  <c:v>1.5423245872612051E-2</c:v>
                </c:pt>
                <c:pt idx="6">
                  <c:v>6.9040943128880816E-2</c:v>
                </c:pt>
                <c:pt idx="7">
                  <c:v>0.15744516134834333</c:v>
                </c:pt>
                <c:pt idx="8">
                  <c:v>0.27390697414149728</c:v>
                </c:pt>
                <c:pt idx="9">
                  <c:v>0.1947065662490482</c:v>
                </c:pt>
                <c:pt idx="10">
                  <c:v>0.2253851845708335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9">
                  <c:v>5.87057358751501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8">
                  <c:v>0.25327228269884505</c:v>
                </c:pt>
                <c:pt idx="10">
                  <c:v>0.225385184570833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4353602383802611E-2</c:v>
                </c:pt>
                <c:pt idx="7">
                  <c:v>9.4257429897857015E-2</c:v>
                </c:pt>
                <c:pt idx="9">
                  <c:v>0.19470069567546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1718584187522608E-3</c:v>
                </c:pt>
                <c:pt idx="2">
                  <c:v>3.0877593294655829E-2</c:v>
                </c:pt>
                <c:pt idx="3">
                  <c:v>5.9527616177402235E-3</c:v>
                </c:pt>
                <c:pt idx="4">
                  <c:v>8.9944681709990665E-4</c:v>
                </c:pt>
                <c:pt idx="5">
                  <c:v>5.086539749029232E-3</c:v>
                </c:pt>
                <c:pt idx="6">
                  <c:v>4.4497698735153695E-3</c:v>
                </c:pt>
                <c:pt idx="7">
                  <c:v>3.8870691498610051E-4</c:v>
                </c:pt>
                <c:pt idx="8">
                  <c:v>4.492362758480105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466314398943197E-3</c:v>
                </c:pt>
                <c:pt idx="2">
                  <c:v>1.4508435639527797E-2</c:v>
                </c:pt>
                <c:pt idx="3">
                  <c:v>1.953776852253401E-3</c:v>
                </c:pt>
                <c:pt idx="4">
                  <c:v>4.5814206088609184E-3</c:v>
                </c:pt>
                <c:pt idx="5">
                  <c:v>1.0336706123582819E-2</c:v>
                </c:pt>
                <c:pt idx="6">
                  <c:v>2.3757087156284161E-4</c:v>
                </c:pt>
                <c:pt idx="7">
                  <c:v>6.2799024535500236E-2</c:v>
                </c:pt>
                <c:pt idx="8">
                  <c:v>1.61423286841721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740291286398303E-3</c:v>
                </c:pt>
                <c:pt idx="2">
                  <c:v>4.0083742340487213E-2</c:v>
                </c:pt>
                <c:pt idx="3">
                  <c:v>1.2276837033556913E-2</c:v>
                </c:pt>
                <c:pt idx="4">
                  <c:v>7.1895710672837589E-3</c:v>
                </c:pt>
                <c:pt idx="5">
                  <c:v>1.3904077409810173E-2</c:v>
                </c:pt>
                <c:pt idx="6">
                  <c:v>7.1829111646457874E-2</c:v>
                </c:pt>
                <c:pt idx="7">
                  <c:v>0.15564817221283697</c:v>
                </c:pt>
                <c:pt idx="8">
                  <c:v>0.27976076830036289</c:v>
                </c:pt>
                <c:pt idx="9">
                  <c:v>0.18838515478963205</c:v>
                </c:pt>
                <c:pt idx="10">
                  <c:v>0.225473440358260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10">
                  <c:v>5.8727096432391369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5.747758374234049E-6</c:v>
                </c:pt>
                <c:pt idx="8">
                  <c:v>0.25335006847329544</c:v>
                </c:pt>
                <c:pt idx="10">
                  <c:v>0.225467567648617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4779436019952214E-4</c:v>
                </c:pt>
                <c:pt idx="6">
                  <c:v>6.4748123231939542E-2</c:v>
                </c:pt>
                <c:pt idx="7">
                  <c:v>9.3071702036205878E-2</c:v>
                </c:pt>
                <c:pt idx="8">
                  <c:v>6.3857595537740279E-3</c:v>
                </c:pt>
                <c:pt idx="9">
                  <c:v>0.188385154789632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2542308499685121E-3</c:v>
                </c:pt>
                <c:pt idx="2">
                  <c:v>2.5103459650736213E-2</c:v>
                </c:pt>
                <c:pt idx="3">
                  <c:v>1.0848644028828756E-2</c:v>
                </c:pt>
                <c:pt idx="4">
                  <c:v>2.0334569517888022E-3</c:v>
                </c:pt>
                <c:pt idx="5">
                  <c:v>3.9335908995491754E-3</c:v>
                </c:pt>
                <c:pt idx="6">
                  <c:v>5.0987614830216212E-3</c:v>
                </c:pt>
                <c:pt idx="7">
                  <c:v>5.2129669428922722E-4</c:v>
                </c:pt>
                <c:pt idx="8">
                  <c:v>4.493247633422964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197982786713182E-3</c:v>
                </c:pt>
                <c:pt idx="2">
                  <c:v>1.4980282689750997E-2</c:v>
                </c:pt>
                <c:pt idx="3">
                  <c:v>1.4281930047281561E-3</c:v>
                </c:pt>
                <c:pt idx="4">
                  <c:v>5.1561141154949572E-3</c:v>
                </c:pt>
                <c:pt idx="5">
                  <c:v>9.1226921500614754E-3</c:v>
                </c:pt>
                <c:pt idx="6">
                  <c:v>1.9764791731224822E-3</c:v>
                </c:pt>
                <c:pt idx="7">
                  <c:v>6.2055173482341887E-2</c:v>
                </c:pt>
                <c:pt idx="8">
                  <c:v>1.5531692639870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4488502073914959E-3</c:v>
                </c:pt>
                <c:pt idx="5">
                  <c:v>8.9437949423969865E-3</c:v>
                </c:pt>
                <c:pt idx="6">
                  <c:v>5.4633029429465921E-3</c:v>
                </c:pt>
                <c:pt idx="7">
                  <c:v>5.6927277372029003E-2</c:v>
                </c:pt>
                <c:pt idx="8">
                  <c:v>4.2365689413246761E-2</c:v>
                </c:pt>
                <c:pt idx="9">
                  <c:v>4.2318673864966551E-2</c:v>
                </c:pt>
                <c:pt idx="10">
                  <c:v>3.529876915569195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8.9234037982599497E-6</c:v>
                </c:pt>
                <c:pt idx="5">
                  <c:v>4.4368986275593533E-2</c:v>
                </c:pt>
                <c:pt idx="6">
                  <c:v>1.4733924839817428E-2</c:v>
                </c:pt>
                <c:pt idx="7">
                  <c:v>1.1988862746377713E-2</c:v>
                </c:pt>
                <c:pt idx="8">
                  <c:v>3.8735453366397464E-2</c:v>
                </c:pt>
                <c:pt idx="9">
                  <c:v>2.445187609425152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152</c:v>
                </c:pt>
                <c:pt idx="3">
                  <c:v>0.1321</c:v>
                </c:pt>
                <c:pt idx="4">
                  <c:v>7.0199999999999999E-2</c:v>
                </c:pt>
                <c:pt idx="5">
                  <c:v>8.6300000000000002E-2</c:v>
                </c:pt>
                <c:pt idx="6">
                  <c:v>9.5299999999999996E-2</c:v>
                </c:pt>
                <c:pt idx="7">
                  <c:v>0.22919999999999999</c:v>
                </c:pt>
                <c:pt idx="8">
                  <c:v>0.271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8649087315539978E-2</c:v>
                </c:pt>
                <c:pt idx="6">
                  <c:v>8.1119053578512148E-3</c:v>
                </c:pt>
                <c:pt idx="7">
                  <c:v>2.9251355723044502E-2</c:v>
                </c:pt>
                <c:pt idx="8">
                  <c:v>2.9765183058121165E-2</c:v>
                </c:pt>
                <c:pt idx="9">
                  <c:v>7.0543952767912928E-3</c:v>
                </c:pt>
                <c:pt idx="10">
                  <c:v>1.07514214090835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2.5089461821483583E-2</c:v>
                </c:pt>
                <c:pt idx="6">
                  <c:v>2.9236014507744851E-2</c:v>
                </c:pt>
                <c:pt idx="7">
                  <c:v>3.1227932788605785E-2</c:v>
                </c:pt>
                <c:pt idx="8">
                  <c:v>2.7567047416884625E-2</c:v>
                </c:pt>
                <c:pt idx="9">
                  <c:v>9.9242363124415881E-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4">
                  <c:v>9.5884917818195217E-3</c:v>
                </c:pt>
                <c:pt idx="5">
                  <c:v>5.6348233298610793E-2</c:v>
                </c:pt>
                <c:pt idx="6">
                  <c:v>4.6860068154512241E-5</c:v>
                </c:pt>
                <c:pt idx="7">
                  <c:v>3.1574467562078068E-3</c:v>
                </c:pt>
                <c:pt idx="8">
                  <c:v>3.9659442534192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791129630307E-2</c:v>
                </c:pt>
                <c:pt idx="2">
                  <c:v>7.6665533764454152E-3</c:v>
                </c:pt>
                <c:pt idx="3">
                  <c:v>5.7980360537331535E-2</c:v>
                </c:pt>
                <c:pt idx="4">
                  <c:v>2.3981649856609964E-2</c:v>
                </c:pt>
                <c:pt idx="5">
                  <c:v>2.1307871317483448E-2</c:v>
                </c:pt>
                <c:pt idx="6">
                  <c:v>0.18063637976569014</c:v>
                </c:pt>
                <c:pt idx="7">
                  <c:v>0.14441862498561556</c:v>
                </c:pt>
                <c:pt idx="8">
                  <c:v>0.30330474138544428</c:v>
                </c:pt>
                <c:pt idx="9">
                  <c:v>0.14396835371936478</c:v>
                </c:pt>
                <c:pt idx="10">
                  <c:v>0.104024747404548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6236515214996E-2</c:v>
                </c:pt>
                <c:pt idx="2">
                  <c:v>4.8659291569965292E-3</c:v>
                </c:pt>
                <c:pt idx="3">
                  <c:v>4.2150313744790897E-2</c:v>
                </c:pt>
                <c:pt idx="4">
                  <c:v>2.2483883208613668E-2</c:v>
                </c:pt>
                <c:pt idx="6">
                  <c:v>9.4450759548878216E-2</c:v>
                </c:pt>
                <c:pt idx="7">
                  <c:v>1.9735363679033759E-2</c:v>
                </c:pt>
                <c:pt idx="8">
                  <c:v>0.101162004964891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8625143428798E-3</c:v>
                </c:pt>
                <c:pt idx="7">
                  <c:v>6.4898548432347784E-4</c:v>
                </c:pt>
                <c:pt idx="8">
                  <c:v>2.0839816021349853E-2</c:v>
                </c:pt>
                <c:pt idx="9">
                  <c:v>6.5580332520045845E-2</c:v>
                </c:pt>
                <c:pt idx="10">
                  <c:v>9.99600666132081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7042768114235E-3</c:v>
                </c:pt>
                <c:pt idx="6">
                  <c:v>4.0807825481263575E-3</c:v>
                </c:pt>
                <c:pt idx="7">
                  <c:v>4.8292498814641191E-2</c:v>
                </c:pt>
                <c:pt idx="8">
                  <c:v>4.2743601112357879E-2</c:v>
                </c:pt>
                <c:pt idx="9">
                  <c:v>1.03757626469214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5461441531E-3</c:v>
                </c:pt>
                <c:pt idx="2">
                  <c:v>2.8006242194488864E-3</c:v>
                </c:pt>
                <c:pt idx="3">
                  <c:v>1.5830046792540634E-2</c:v>
                </c:pt>
                <c:pt idx="4">
                  <c:v>1.4977666479962964E-3</c:v>
                </c:pt>
                <c:pt idx="5">
                  <c:v>2.0279167040672025E-2</c:v>
                </c:pt>
                <c:pt idx="6">
                  <c:v>7.6784975154342697E-2</c:v>
                </c:pt>
                <c:pt idx="7">
                  <c:v>7.5741777007617125E-2</c:v>
                </c:pt>
                <c:pt idx="8">
                  <c:v>0.13855931928684506</c:v>
                </c:pt>
                <c:pt idx="9">
                  <c:v>6.8012258552397481E-2</c:v>
                </c:pt>
                <c:pt idx="10">
                  <c:v>4.064680791340578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E-2</c:v>
                </c:pt>
                <c:pt idx="1">
                  <c:v>2.6808770478219595E-2</c:v>
                </c:pt>
                <c:pt idx="2">
                  <c:v>3.3618921453349215E-2</c:v>
                </c:pt>
                <c:pt idx="3">
                  <c:v>4.3193698660743136E-2</c:v>
                </c:pt>
                <c:pt idx="4">
                  <c:v>6.0866470201537952E-2</c:v>
                </c:pt>
                <c:pt idx="5">
                  <c:v>0.11629275414523582</c:v>
                </c:pt>
                <c:pt idx="6">
                  <c:v>0.14114999538782796</c:v>
                </c:pt>
                <c:pt idx="7">
                  <c:v>0.18708207317322248</c:v>
                </c:pt>
                <c:pt idx="8">
                  <c:v>0.19672272953911321</c:v>
                </c:pt>
                <c:pt idx="9">
                  <c:v>0.14353338057932885</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90664953746922E-3</c:v>
                </c:pt>
                <c:pt idx="5">
                  <c:v>3.6501320057216305E-2</c:v>
                </c:pt>
                <c:pt idx="6">
                  <c:v>6.8628915945534608E-2</c:v>
                </c:pt>
                <c:pt idx="7">
                  <c:v>0.11770700670443281</c:v>
                </c:pt>
                <c:pt idx="8">
                  <c:v>0.14542197090648246</c:v>
                </c:pt>
                <c:pt idx="9">
                  <c:v>9.1235768159476857E-2</c:v>
                </c:pt>
                <c:pt idx="10">
                  <c:v>5.34411945915988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45573354076379E-3</c:v>
                </c:pt>
                <c:pt idx="2">
                  <c:v>4.2526630974115357E-3</c:v>
                </c:pt>
                <c:pt idx="3">
                  <c:v>8.4956772137193354E-2</c:v>
                </c:pt>
                <c:pt idx="4">
                  <c:v>2.7681384037725146E-2</c:v>
                </c:pt>
                <c:pt idx="5">
                  <c:v>0.10955436823908271</c:v>
                </c:pt>
                <c:pt idx="6">
                  <c:v>0.12395847448481805</c:v>
                </c:pt>
                <c:pt idx="7">
                  <c:v>0.12103510134558404</c:v>
                </c:pt>
                <c:pt idx="8">
                  <c:v>0.3261976210034887</c:v>
                </c:pt>
                <c:pt idx="9">
                  <c:v>0.1012306356354709</c:v>
                </c:pt>
                <c:pt idx="10">
                  <c:v>9.506966599331052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402438561385494E-3</c:v>
                </c:pt>
                <c:pt idx="2">
                  <c:v>3.422221187678045E-3</c:v>
                </c:pt>
                <c:pt idx="3">
                  <c:v>7.5569708603490882E-2</c:v>
                </c:pt>
                <c:pt idx="4">
                  <c:v>2.5943712515233672E-2</c:v>
                </c:pt>
                <c:pt idx="5">
                  <c:v>7.0632445827849347E-2</c:v>
                </c:pt>
                <c:pt idx="6">
                  <c:v>2.4282129212641976E-2</c:v>
                </c:pt>
                <c:pt idx="7">
                  <c:v>2.7379168467673794E-2</c:v>
                </c:pt>
                <c:pt idx="8">
                  <c:v>0.10171794221235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81046338930584E-2</c:v>
                </c:pt>
                <c:pt idx="9">
                  <c:v>3.3016963592719425E-2</c:v>
                </c:pt>
                <c:pt idx="10">
                  <c:v>8.99252396322319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3.7978047654774921E-4</c:v>
                </c:pt>
                <c:pt idx="5">
                  <c:v>2.9633952320199126E-2</c:v>
                </c:pt>
                <c:pt idx="6">
                  <c:v>4.0727793538384736E-3</c:v>
                </c:pt>
                <c:pt idx="7">
                  <c:v>2.1331009909460848E-2</c:v>
                </c:pt>
                <c:pt idx="8">
                  <c:v>6.9943960132259828E-2</c:v>
                </c:pt>
                <c:pt idx="9">
                  <c:v>9.4333848606281811E-3</c:v>
                </c:pt>
                <c:pt idx="10">
                  <c:v>4.0414580539205897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34792690883213E-6</c:v>
                </c:pt>
                <c:pt idx="2">
                  <c:v>8.3044190973349027E-4</c:v>
                </c:pt>
                <c:pt idx="3">
                  <c:v>9.3870635337024774E-3</c:v>
                </c:pt>
                <c:pt idx="4">
                  <c:v>1.3578910459437225E-3</c:v>
                </c:pt>
                <c:pt idx="5">
                  <c:v>9.2879700910342318E-3</c:v>
                </c:pt>
                <c:pt idx="6">
                  <c:v>9.5603565918337602E-2</c:v>
                </c:pt>
                <c:pt idx="7">
                  <c:v>7.232492296844939E-2</c:v>
                </c:pt>
                <c:pt idx="8">
                  <c:v>0.13455467231994109</c:v>
                </c:pt>
                <c:pt idx="9">
                  <c:v>5.8780287182123296E-2</c:v>
                </c:pt>
                <c:pt idx="10">
                  <c:v>5.14038490302463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554911459525581E-3</c:v>
                </c:pt>
                <c:pt idx="1">
                  <c:v>1.6440133151909342E-2</c:v>
                </c:pt>
                <c:pt idx="2">
                  <c:v>1.8194910040100366E-2</c:v>
                </c:pt>
                <c:pt idx="3">
                  <c:v>4.115312531860766E-2</c:v>
                </c:pt>
                <c:pt idx="4">
                  <c:v>7.2076060566105438E-2</c:v>
                </c:pt>
                <c:pt idx="5">
                  <c:v>9.1525169197853376E-2</c:v>
                </c:pt>
                <c:pt idx="6">
                  <c:v>0.10792119445842582</c:v>
                </c:pt>
                <c:pt idx="7">
                  <c:v>0.18937629937870426</c:v>
                </c:pt>
                <c:pt idx="8">
                  <c:v>0.19596637827265739</c:v>
                </c:pt>
                <c:pt idx="9">
                  <c:v>4.9639033812769594E-2</c:v>
                </c:pt>
                <c:pt idx="10">
                  <c:v>0.211552204656914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529328615607135E-4</c:v>
                </c:pt>
                <c:pt idx="1">
                  <c:v>6.8028725528951678E-3</c:v>
                </c:pt>
                <c:pt idx="2">
                  <c:v>1.4268551372453032E-4</c:v>
                </c:pt>
                <c:pt idx="3">
                  <c:v>1.3316080744153249E-2</c:v>
                </c:pt>
                <c:pt idx="4">
                  <c:v>5.2500899197691964E-2</c:v>
                </c:pt>
                <c:pt idx="5">
                  <c:v>2.0875347575433616E-3</c:v>
                </c:pt>
                <c:pt idx="6">
                  <c:v>3.6581147068202653E-2</c:v>
                </c:pt>
                <c:pt idx="7">
                  <c:v>8.9879652103433891E-2</c:v>
                </c:pt>
                <c:pt idx="8">
                  <c:v>0.14563710534493146</c:v>
                </c:pt>
                <c:pt idx="9">
                  <c:v>4.3221591443684829E-2</c:v>
                </c:pt>
                <c:pt idx="10">
                  <c:v>0.175338533627324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748353793302683E-5</c:v>
                </c:pt>
                <c:pt idx="1">
                  <c:v>2.5986550803650762E-3</c:v>
                </c:pt>
                <c:pt idx="3">
                  <c:v>2.5175844735524297E-3</c:v>
                </c:pt>
                <c:pt idx="4">
                  <c:v>9.7368014409372726E-3</c:v>
                </c:pt>
                <c:pt idx="5">
                  <c:v>4.3614516053857647E-2</c:v>
                </c:pt>
                <c:pt idx="6">
                  <c:v>1.3990883876762072E-2</c:v>
                </c:pt>
                <c:pt idx="7">
                  <c:v>1.4929633631864061E-2</c:v>
                </c:pt>
                <c:pt idx="8">
                  <c:v>1.5285128376209045E-2</c:v>
                </c:pt>
                <c:pt idx="9">
                  <c:v>2.6510626762903081E-3</c:v>
                </c:pt>
                <c:pt idx="10">
                  <c:v>2.45149293155247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35926641840844E-6</c:v>
                </c:pt>
                <c:pt idx="5">
                  <c:v>2.3061508894925323E-2</c:v>
                </c:pt>
                <c:pt idx="6">
                  <c:v>1.133299190722967E-2</c:v>
                </c:pt>
                <c:pt idx="7">
                  <c:v>3.592390211525501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121259133390002E-3</c:v>
                </c:pt>
                <c:pt idx="1">
                  <c:v>7.0386055186490966E-3</c:v>
                </c:pt>
                <c:pt idx="2">
                  <c:v>1.8052224526375834E-2</c:v>
                </c:pt>
                <c:pt idx="3">
                  <c:v>2.5319460100901983E-2</c:v>
                </c:pt>
                <c:pt idx="4">
                  <c:v>9.8383599274761979E-3</c:v>
                </c:pt>
                <c:pt idx="5">
                  <c:v>2.276160949152704E-2</c:v>
                </c:pt>
                <c:pt idx="6">
                  <c:v>4.6016171606231442E-2</c:v>
                </c:pt>
                <c:pt idx="7">
                  <c:v>4.864311152815131E-2</c:v>
                </c:pt>
                <c:pt idx="8">
                  <c:v>3.5044144551516887E-2</c:v>
                </c:pt>
                <c:pt idx="9">
                  <c:v>3.766379692794454E-3</c:v>
                </c:pt>
                <c:pt idx="10">
                  <c:v>1.1698741714065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181560058492834E-7</c:v>
                </c:pt>
                <c:pt idx="1">
                  <c:v>2.4336260492736444E-7</c:v>
                </c:pt>
                <c:pt idx="2">
                  <c:v>3.0265745294642621E-3</c:v>
                </c:pt>
                <c:pt idx="3">
                  <c:v>3.4725365029936576E-3</c:v>
                </c:pt>
                <c:pt idx="4">
                  <c:v>1.8439494441048283E-3</c:v>
                </c:pt>
                <c:pt idx="5">
                  <c:v>2.2671840543629514E-3</c:v>
                </c:pt>
                <c:pt idx="6">
                  <c:v>2.5051656416924775E-3</c:v>
                </c:pt>
                <c:pt idx="7">
                  <c:v>6.0241573619378257E-3</c:v>
                </c:pt>
                <c:pt idx="8">
                  <c:v>7.141709990768625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7140142555325E-2</c:v>
                </c:pt>
                <c:pt idx="1">
                  <c:v>2.5184185382167351E-2</c:v>
                </c:pt>
                <c:pt idx="2">
                  <c:v>1.8898507860945636E-2</c:v>
                </c:pt>
                <c:pt idx="3">
                  <c:v>3.6690283715549929E-2</c:v>
                </c:pt>
                <c:pt idx="4">
                  <c:v>3.8047778352694392E-2</c:v>
                </c:pt>
                <c:pt idx="5">
                  <c:v>5.976632250567436E-2</c:v>
                </c:pt>
                <c:pt idx="6">
                  <c:v>8.5399286558187404E-2</c:v>
                </c:pt>
                <c:pt idx="7">
                  <c:v>0.11668792544177388</c:v>
                </c:pt>
                <c:pt idx="8">
                  <c:v>9.7776789765661454E-2</c:v>
                </c:pt>
                <c:pt idx="9">
                  <c:v>3.4950998218423492E-2</c:v>
                </c:pt>
                <c:pt idx="10">
                  <c:v>1.04302328174328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525927822347E-2</c:v>
                </c:pt>
                <c:pt idx="5">
                  <c:v>4.4271414349376689E-2</c:v>
                </c:pt>
                <c:pt idx="6">
                  <c:v>4.352768042290607E-2</c:v>
                </c:pt>
                <c:pt idx="7">
                  <c:v>5.7251171628862195E-2</c:v>
                </c:pt>
                <c:pt idx="8">
                  <c:v>3.7945581405820404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7567371652506244E-3</c:v>
                </c:pt>
                <c:pt idx="1">
                  <c:v>6.500830736832529E-3</c:v>
                </c:pt>
                <c:pt idx="2">
                  <c:v>2.3755754151071784E-2</c:v>
                </c:pt>
                <c:pt idx="3">
                  <c:v>9.1838968342402058E-2</c:v>
                </c:pt>
                <c:pt idx="4">
                  <c:v>2.6424087871712295E-2</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689401905276512E-3</c:v>
                </c:pt>
                <c:pt idx="3">
                  <c:v>8.436506674151753E-2</c:v>
                </c:pt>
                <c:pt idx="4">
                  <c:v>2.8157478820829891E-3</c:v>
                </c:pt>
                <c:pt idx="5">
                  <c:v>2.1694504995214011E-7</c:v>
                </c:pt>
                <c:pt idx="6">
                  <c:v>3.4223352811262542E-2</c:v>
                </c:pt>
                <c:pt idx="7">
                  <c:v>9.0605689969686626E-2</c:v>
                </c:pt>
                <c:pt idx="8">
                  <c:v>9.5972765875469268E-2</c:v>
                </c:pt>
                <c:pt idx="9">
                  <c:v>0.11927689466880319</c:v>
                </c:pt>
                <c:pt idx="10">
                  <c:v>9.300591576609462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5277714070256861E-4</c:v>
                </c:pt>
                <c:pt idx="1">
                  <c:v>2.6058716250084565E-3</c:v>
                </c:pt>
                <c:pt idx="2">
                  <c:v>7.0915721078522063E-4</c:v>
                </c:pt>
                <c:pt idx="3">
                  <c:v>5.2985031912436064E-3</c:v>
                </c:pt>
                <c:pt idx="4">
                  <c:v>1.7226684400237152E-2</c:v>
                </c:pt>
                <c:pt idx="5">
                  <c:v>7.2257580448738548E-2</c:v>
                </c:pt>
                <c:pt idx="6">
                  <c:v>1.5371442648063099E-2</c:v>
                </c:pt>
                <c:pt idx="7">
                  <c:v>3.339684640720738E-2</c:v>
                </c:pt>
                <c:pt idx="8">
                  <c:v>2.4546735803197287E-2</c:v>
                </c:pt>
                <c:pt idx="9">
                  <c:v>5.3865467240158497E-3</c:v>
                </c:pt>
                <c:pt idx="10">
                  <c:v>3.27033996337895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440457460456432E-3</c:v>
                </c:pt>
                <c:pt idx="5">
                  <c:v>3.4929093137511018E-2</c:v>
                </c:pt>
                <c:pt idx="6">
                  <c:v>1.8367851520493732E-2</c:v>
                </c:pt>
                <c:pt idx="7">
                  <c:v>4.03007791256051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039600245480559E-3</c:v>
                </c:pt>
                <c:pt idx="1">
                  <c:v>3.8949591118240729E-3</c:v>
                </c:pt>
                <c:pt idx="2">
                  <c:v>2.137765674975891E-2</c:v>
                </c:pt>
                <c:pt idx="3">
                  <c:v>2.1753984096409221E-3</c:v>
                </c:pt>
                <c:pt idx="4">
                  <c:v>4.7376098433465109E-3</c:v>
                </c:pt>
                <c:pt idx="5">
                  <c:v>1.0253943943496227E-2</c:v>
                </c:pt>
                <c:pt idx="6">
                  <c:v>4.9620828865319898E-2</c:v>
                </c:pt>
                <c:pt idx="7">
                  <c:v>3.5727053188743314E-2</c:v>
                </c:pt>
                <c:pt idx="8">
                  <c:v>2.7540125523682752E-2</c:v>
                </c:pt>
                <c:pt idx="9">
                  <c:v>2.8010498549487315E-3</c:v>
                </c:pt>
                <c:pt idx="10">
                  <c:v>1.043550887155200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9535160242343E-2</c:v>
                </c:pt>
                <c:pt idx="1">
                  <c:v>1.8004328980539077E-2</c:v>
                </c:pt>
                <c:pt idx="2">
                  <c:v>1.1101551809851031E-2</c:v>
                </c:pt>
                <c:pt idx="3">
                  <c:v>1.3979308573739149E-2</c:v>
                </c:pt>
                <c:pt idx="4">
                  <c:v>2.7268659971536421E-2</c:v>
                </c:pt>
                <c:pt idx="5">
                  <c:v>0.14782692723334404</c:v>
                </c:pt>
                <c:pt idx="6">
                  <c:v>0.13485627275324794</c:v>
                </c:pt>
                <c:pt idx="7">
                  <c:v>0.15504877286571603</c:v>
                </c:pt>
                <c:pt idx="8">
                  <c:v>0.26200827027857587</c:v>
                </c:pt>
                <c:pt idx="9">
                  <c:v>0.18504429883440607</c:v>
                </c:pt>
                <c:pt idx="10">
                  <c:v>2.0466257096620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39794035538919E-4</c:v>
                </c:pt>
                <c:pt idx="2">
                  <c:v>4.3909743414326333E-8</c:v>
                </c:pt>
                <c:pt idx="4">
                  <c:v>5.4395795462375898E-3</c:v>
                </c:pt>
                <c:pt idx="5">
                  <c:v>2.4895642330523413E-2</c:v>
                </c:pt>
                <c:pt idx="6">
                  <c:v>4.6209083883562665E-2</c:v>
                </c:pt>
                <c:pt idx="7">
                  <c:v>2.22282267482802E-3</c:v>
                </c:pt>
                <c:pt idx="8">
                  <c:v>0.15203549036761585</c:v>
                </c:pt>
                <c:pt idx="9">
                  <c:v>0.11962482042561559</c:v>
                </c:pt>
                <c:pt idx="10">
                  <c:v>1.34443460367047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724722063399369E-3</c:v>
                </c:pt>
                <c:pt idx="3">
                  <c:v>1.3378657060556869E-3</c:v>
                </c:pt>
                <c:pt idx="4">
                  <c:v>3.9875012198886698E-3</c:v>
                </c:pt>
                <c:pt idx="5">
                  <c:v>9.1956095404158666E-2</c:v>
                </c:pt>
                <c:pt idx="6">
                  <c:v>4.2744895608013367E-2</c:v>
                </c:pt>
                <c:pt idx="7">
                  <c:v>1.0769867741116922E-2</c:v>
                </c:pt>
                <c:pt idx="8">
                  <c:v>4.9896566715064098E-3</c:v>
                </c:pt>
                <c:pt idx="10">
                  <c:v>3.283773272877543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410420784605437E-3</c:v>
                </c:pt>
                <c:pt idx="6">
                  <c:v>1.2485722029173411E-2</c:v>
                </c:pt>
                <c:pt idx="7">
                  <c:v>7.1618693138423339E-2</c:v>
                </c:pt>
                <c:pt idx="8">
                  <c:v>3.96709062008066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9795366206804E-2</c:v>
                </c:pt>
                <c:pt idx="1">
                  <c:v>1.8004328980539077E-2</c:v>
                </c:pt>
                <c:pt idx="2">
                  <c:v>7.9290356937676814E-3</c:v>
                </c:pt>
                <c:pt idx="3">
                  <c:v>7.2004007892229188E-3</c:v>
                </c:pt>
                <c:pt idx="4">
                  <c:v>1.7841579205410161E-2</c:v>
                </c:pt>
                <c:pt idx="5">
                  <c:v>3.0975189498661959E-2</c:v>
                </c:pt>
                <c:pt idx="6">
                  <c:v>3.3416571232498499E-2</c:v>
                </c:pt>
                <c:pt idx="7">
                  <c:v>7.0437389311347728E-2</c:v>
                </c:pt>
                <c:pt idx="8">
                  <c:v>6.5312217038646994E-2</c:v>
                </c:pt>
                <c:pt idx="9">
                  <c:v>6.5419478408790477E-2</c:v>
                </c:pt>
                <c:pt idx="10">
                  <c:v>6.98907332718747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9E-2</c:v>
                </c:pt>
                <c:pt idx="4">
                  <c:v>5.7701549538145838E-2</c:v>
                </c:pt>
                <c:pt idx="5">
                  <c:v>0.14579996000114001</c:v>
                </c:pt>
                <c:pt idx="6">
                  <c:v>0.1286472547711171</c:v>
                </c:pt>
                <c:pt idx="7">
                  <c:v>0.1797236450590925</c:v>
                </c:pt>
                <c:pt idx="8">
                  <c:v>0.24907140238754868</c:v>
                </c:pt>
                <c:pt idx="9">
                  <c:v>0.15553268833943146</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c:v>
                </c:pt>
                <c:pt idx="2">
                  <c:v>3.2899999999999999E-2</c:v>
                </c:pt>
                <c:pt idx="4">
                  <c:v>3.0999999999999999E-3</c:v>
                </c:pt>
                <c:pt idx="5">
                  <c:v>0.21490000000000001</c:v>
                </c:pt>
                <c:pt idx="6">
                  <c:v>3.1600000000000003E-2</c:v>
                </c:pt>
                <c:pt idx="7">
                  <c:v>0.27050000000000002</c:v>
                </c:pt>
                <c:pt idx="8">
                  <c:v>0.286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731316775892473E-2</c:v>
                </c:pt>
                <c:pt idx="1">
                  <c:v>1.9129857743461352E-3</c:v>
                </c:pt>
                <c:pt idx="2">
                  <c:v>4.1464705082516432E-3</c:v>
                </c:pt>
                <c:pt idx="3">
                  <c:v>1.67907900063155E-2</c:v>
                </c:pt>
                <c:pt idx="4">
                  <c:v>7.3650110589429774E-2</c:v>
                </c:pt>
                <c:pt idx="5">
                  <c:v>0.15952220866396205</c:v>
                </c:pt>
                <c:pt idx="6">
                  <c:v>9.692054606282538E-2</c:v>
                </c:pt>
                <c:pt idx="7">
                  <c:v>0.2127471216943462</c:v>
                </c:pt>
                <c:pt idx="8">
                  <c:v>0.20163334178776571</c:v>
                </c:pt>
                <c:pt idx="9">
                  <c:v>0.14782979201706783</c:v>
                </c:pt>
                <c:pt idx="10">
                  <c:v>4.31153161197973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103747573246747E-5</c:v>
                </c:pt>
                <c:pt idx="1">
                  <c:v>5.0137316344989149E-5</c:v>
                </c:pt>
                <c:pt idx="2">
                  <c:v>2.1554419466856484E-3</c:v>
                </c:pt>
                <c:pt idx="3">
                  <c:v>5.4537419824124429E-3</c:v>
                </c:pt>
                <c:pt idx="4">
                  <c:v>2.4214862775212228E-2</c:v>
                </c:pt>
                <c:pt idx="5">
                  <c:v>8.7335162919249268E-2</c:v>
                </c:pt>
                <c:pt idx="6">
                  <c:v>2.6111339030140245E-3</c:v>
                </c:pt>
                <c:pt idx="7">
                  <c:v>5.6293394711733079E-2</c:v>
                </c:pt>
                <c:pt idx="8">
                  <c:v>2.9503339111178121E-3</c:v>
                </c:pt>
                <c:pt idx="9">
                  <c:v>1.1103747573246747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55420713203446E-7</c:v>
                </c:pt>
                <c:pt idx="4">
                  <c:v>2.5214711413600571E-2</c:v>
                </c:pt>
                <c:pt idx="5">
                  <c:v>6.6089213352081132E-3</c:v>
                </c:pt>
                <c:pt idx="6">
                  <c:v>4.6481748361028419E-2</c:v>
                </c:pt>
                <c:pt idx="7">
                  <c:v>9.4329014170329937E-3</c:v>
                </c:pt>
                <c:pt idx="8">
                  <c:v>7.6488603464135482E-2</c:v>
                </c:pt>
                <c:pt idx="9">
                  <c:v>7.4492826589462505E-2</c:v>
                </c:pt>
                <c:pt idx="10">
                  <c:v>4.3115316119797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410031203478706E-2</c:v>
                </c:pt>
                <c:pt idx="1">
                  <c:v>1.6038584159198909E-3</c:v>
                </c:pt>
                <c:pt idx="3">
                  <c:v>2.5580014968630939E-4</c:v>
                </c:pt>
                <c:pt idx="4">
                  <c:v>4.6996124597294348E-4</c:v>
                </c:pt>
                <c:pt idx="5">
                  <c:v>1.2751874877517872E-2</c:v>
                </c:pt>
                <c:pt idx="6">
                  <c:v>1.7330198375268488E-2</c:v>
                </c:pt>
                <c:pt idx="7">
                  <c:v>5.9306089801655901E-2</c:v>
                </c:pt>
                <c:pt idx="8">
                  <c:v>7.489063782653297E-3</c:v>
                </c:pt>
                <c:pt idx="9">
                  <c:v>7.11782605375538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310181824840522E-2</c:v>
                </c:pt>
                <c:pt idx="1">
                  <c:v>2.5899004208125527E-4</c:v>
                </c:pt>
                <c:pt idx="2">
                  <c:v>1.9907120073588626E-3</c:v>
                </c:pt>
                <c:pt idx="3">
                  <c:v>1.1081247874216747E-2</c:v>
                </c:pt>
                <c:pt idx="4">
                  <c:v>2.3750575154644037E-2</c:v>
                </c:pt>
                <c:pt idx="5">
                  <c:v>5.282624953198678E-2</c:v>
                </c:pt>
                <c:pt idx="6">
                  <c:v>3.0497465423514464E-2</c:v>
                </c:pt>
                <c:pt idx="7">
                  <c:v>8.7714735763924204E-2</c:v>
                </c:pt>
                <c:pt idx="8">
                  <c:v>0.11470534062985911</c:v>
                </c:pt>
                <c:pt idx="9">
                  <c:v>2.14760114247822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55264070481349E-2</c:v>
                </c:pt>
                <c:pt idx="1">
                  <c:v>2.3478993829360306E-2</c:v>
                </c:pt>
                <c:pt idx="2">
                  <c:v>4.2469415214930771E-2</c:v>
                </c:pt>
                <c:pt idx="3">
                  <c:v>2.0691145323150736E-2</c:v>
                </c:pt>
                <c:pt idx="4">
                  <c:v>5.0283691171922343E-2</c:v>
                </c:pt>
                <c:pt idx="5">
                  <c:v>7.2573653990922943E-2</c:v>
                </c:pt>
                <c:pt idx="6">
                  <c:v>0.14498752408549265</c:v>
                </c:pt>
                <c:pt idx="7">
                  <c:v>0.16484856603912199</c:v>
                </c:pt>
                <c:pt idx="8">
                  <c:v>0.37004087706994043</c:v>
                </c:pt>
                <c:pt idx="9">
                  <c:v>7.1528919243590547E-2</c:v>
                </c:pt>
                <c:pt idx="10">
                  <c:v>2.941949961085954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80148949507061E-4</c:v>
                </c:pt>
                <c:pt idx="1">
                  <c:v>1.1631023875368959E-3</c:v>
                </c:pt>
                <c:pt idx="2">
                  <c:v>1.8965262673961748E-2</c:v>
                </c:pt>
                <c:pt idx="3">
                  <c:v>2.6818242812760845E-4</c:v>
                </c:pt>
                <c:pt idx="4">
                  <c:v>9.574218484857945E-4</c:v>
                </c:pt>
                <c:pt idx="5">
                  <c:v>4.4826297226509097E-2</c:v>
                </c:pt>
                <c:pt idx="6">
                  <c:v>1.6767116486051704E-2</c:v>
                </c:pt>
                <c:pt idx="7">
                  <c:v>9.1577178768640258E-2</c:v>
                </c:pt>
                <c:pt idx="8">
                  <c:v>0.18763192770146261</c:v>
                </c:pt>
                <c:pt idx="9">
                  <c:v>6.9401366463258604E-2</c:v>
                </c:pt>
                <c:pt idx="10">
                  <c:v>2.545222163220531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70285952227305E-4</c:v>
                </c:pt>
                <c:pt idx="4">
                  <c:v>3.5588276616581954E-2</c:v>
                </c:pt>
                <c:pt idx="5">
                  <c:v>3.3379376507520308E-6</c:v>
                </c:pt>
                <c:pt idx="6">
                  <c:v>8.1091007901449769E-2</c:v>
                </c:pt>
                <c:pt idx="7">
                  <c:v>1.845596888942766E-2</c:v>
                </c:pt>
                <c:pt idx="8">
                  <c:v>0.106273368202363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56110292314673E-3</c:v>
                </c:pt>
                <c:pt idx="6">
                  <c:v>2.055668902215638E-2</c:v>
                </c:pt>
                <c:pt idx="7">
                  <c:v>5.3010324285858298E-3</c:v>
                </c:pt>
                <c:pt idx="8">
                  <c:v>5.19816980679922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48759721464007E-2</c:v>
                </c:pt>
                <c:pt idx="1">
                  <c:v>2.2315891441823412E-2</c:v>
                </c:pt>
                <c:pt idx="2">
                  <c:v>2.3504152540969023E-2</c:v>
                </c:pt>
                <c:pt idx="3">
                  <c:v>1.8027351865791661E-2</c:v>
                </c:pt>
                <c:pt idx="4">
                  <c:v>1.3737992706854591E-2</c:v>
                </c:pt>
                <c:pt idx="5">
                  <c:v>2.7744018826763098E-2</c:v>
                </c:pt>
                <c:pt idx="6">
                  <c:v>2.6572710675834769E-2</c:v>
                </c:pt>
                <c:pt idx="7">
                  <c:v>4.9514385952468216E-2</c:v>
                </c:pt>
                <c:pt idx="8">
                  <c:v>2.415388309812173E-2</c:v>
                </c:pt>
                <c:pt idx="9">
                  <c:v>2.1275527803319375E-3</c:v>
                </c:pt>
                <c:pt idx="10">
                  <c:v>3.967277978654236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5</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540631649573792E-2</c:v>
                </c:pt>
                <c:pt idx="1">
                  <c:v>1.2093629714621367E-2</c:v>
                </c:pt>
                <c:pt idx="2">
                  <c:v>1.4394612949775013E-2</c:v>
                </c:pt>
                <c:pt idx="3">
                  <c:v>7.4180268807938307E-2</c:v>
                </c:pt>
                <c:pt idx="4">
                  <c:v>5.4718543977765807E-2</c:v>
                </c:pt>
                <c:pt idx="5">
                  <c:v>0.1256468879206534</c:v>
                </c:pt>
                <c:pt idx="6">
                  <c:v>0.11871841643855079</c:v>
                </c:pt>
                <c:pt idx="7">
                  <c:v>0.18860584810262948</c:v>
                </c:pt>
                <c:pt idx="8">
                  <c:v>0.21497156766096434</c:v>
                </c:pt>
                <c:pt idx="9">
                  <c:v>0.11387875955480223</c:v>
                </c:pt>
                <c:pt idx="10">
                  <c:v>6.82508332227254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302073575181155E-2</c:v>
                </c:pt>
                <c:pt idx="1">
                  <c:v>9.5448474519326774E-3</c:v>
                </c:pt>
                <c:pt idx="2">
                  <c:v>2.0414402762151417E-2</c:v>
                </c:pt>
                <c:pt idx="3">
                  <c:v>8.3198453783614595E-3</c:v>
                </c:pt>
                <c:pt idx="4">
                  <c:v>5.6069009084203557E-2</c:v>
                </c:pt>
                <c:pt idx="5">
                  <c:v>9.4112313969553191E-2</c:v>
                </c:pt>
                <c:pt idx="6">
                  <c:v>0.21823369141685761</c:v>
                </c:pt>
                <c:pt idx="7">
                  <c:v>0.15309383364501958</c:v>
                </c:pt>
                <c:pt idx="8">
                  <c:v>0.34216366229016659</c:v>
                </c:pt>
                <c:pt idx="9">
                  <c:v>8.37463204265727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821045711575339E-3</c:v>
                </c:pt>
                <c:pt idx="4">
                  <c:v>4.3075514490369296E-2</c:v>
                </c:pt>
                <c:pt idx="5">
                  <c:v>2.3866378714035527E-3</c:v>
                </c:pt>
                <c:pt idx="6">
                  <c:v>0.1318782180230253</c:v>
                </c:pt>
                <c:pt idx="7">
                  <c:v>1.8808886004624749E-2</c:v>
                </c:pt>
                <c:pt idx="8">
                  <c:v>0.1280691479431342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397235019096868E-3</c:v>
                </c:pt>
                <c:pt idx="2">
                  <c:v>1.8060220788077536E-2</c:v>
                </c:pt>
                <c:pt idx="4">
                  <c:v>8.2285408759834797E-3</c:v>
                </c:pt>
                <c:pt idx="5">
                  <c:v>8.2605410433750678E-2</c:v>
                </c:pt>
                <c:pt idx="6">
                  <c:v>2.9488183972865761E-2</c:v>
                </c:pt>
                <c:pt idx="7">
                  <c:v>7.7911193928028671E-2</c:v>
                </c:pt>
                <c:pt idx="8">
                  <c:v>0.12471069570028315</c:v>
                </c:pt>
                <c:pt idx="9">
                  <c:v>8.37463204265727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723209885868182E-2</c:v>
                </c:pt>
                <c:pt idx="7">
                  <c:v>4.262343039178944E-3</c:v>
                </c:pt>
                <c:pt idx="8">
                  <c:v>7.0120074535225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02073575181155E-2</c:v>
                </c:pt>
                <c:pt idx="1">
                  <c:v>7.0051239500229902E-3</c:v>
                </c:pt>
                <c:pt idx="2">
                  <c:v>2.3541819740738805E-3</c:v>
                </c:pt>
                <c:pt idx="3">
                  <c:v>5.1377408072039252E-3</c:v>
                </c:pt>
                <c:pt idx="4">
                  <c:v>4.7649537178507794E-3</c:v>
                </c:pt>
                <c:pt idx="5">
                  <c:v>9.1202656643989671E-3</c:v>
                </c:pt>
                <c:pt idx="6">
                  <c:v>3.4144079535098397E-2</c:v>
                </c:pt>
                <c:pt idx="7">
                  <c:v>5.2111410673187225E-2</c:v>
                </c:pt>
                <c:pt idx="8">
                  <c:v>1.92637441115233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598E-2</c:v>
                </c:pt>
                <c:pt idx="5">
                  <c:v>0.21572543411195483</c:v>
                </c:pt>
                <c:pt idx="6">
                  <c:v>0.35475670948466692</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79828791840778E-6</c:v>
                </c:pt>
                <c:pt idx="1">
                  <c:v>4.4095719852915143E-3</c:v>
                </c:pt>
                <c:pt idx="2">
                  <c:v>9.0730612643049235E-4</c:v>
                </c:pt>
                <c:pt idx="4">
                  <c:v>8.4623616089499274E-5</c:v>
                </c:pt>
                <c:pt idx="5">
                  <c:v>5.9222481512996869E-3</c:v>
                </c:pt>
                <c:pt idx="6">
                  <c:v>8.709509477839196E-4</c:v>
                </c:pt>
                <c:pt idx="7">
                  <c:v>7.4542456259210493E-3</c:v>
                </c:pt>
                <c:pt idx="8">
                  <c:v>7.907698393118521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720745271640937E-4</c:v>
                </c:pt>
                <c:pt idx="2">
                  <c:v>3.1818851213278902E-3</c:v>
                </c:pt>
                <c:pt idx="3">
                  <c:v>2.7208948376122387E-2</c:v>
                </c:pt>
                <c:pt idx="4">
                  <c:v>8.7593396436525996E-3</c:v>
                </c:pt>
                <c:pt idx="5">
                  <c:v>1.3677814461816037E-2</c:v>
                </c:pt>
                <c:pt idx="6">
                  <c:v>2.707670655893752E-2</c:v>
                </c:pt>
                <c:pt idx="7">
                  <c:v>5.44657529862888E-2</c:v>
                </c:pt>
                <c:pt idx="8">
                  <c:v>7.0461671638516993E-2</c:v>
                </c:pt>
                <c:pt idx="9">
                  <c:v>8.31537452144782E-2</c:v>
                </c:pt>
                <c:pt idx="10">
                  <c:v>5.358171022632857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1175041174765293E-5</c:v>
                </c:pt>
                <c:pt idx="1">
                  <c:v>8.3683095658208188E-4</c:v>
                </c:pt>
                <c:pt idx="2">
                  <c:v>2.2773366936928503E-4</c:v>
                </c:pt>
                <c:pt idx="3">
                  <c:v>1.7015233795207435E-3</c:v>
                </c:pt>
                <c:pt idx="4">
                  <c:v>5.5320540916290531E-3</c:v>
                </c:pt>
                <c:pt idx="5">
                  <c:v>2.3204282047865035E-2</c:v>
                </c:pt>
                <c:pt idx="6">
                  <c:v>4.9362750381778727E-3</c:v>
                </c:pt>
                <c:pt idx="7">
                  <c:v>1.0724824146192359E-2</c:v>
                </c:pt>
                <c:pt idx="8">
                  <c:v>7.8827629903259581E-3</c:v>
                </c:pt>
                <c:pt idx="9">
                  <c:v>1.7297970492762226E-3</c:v>
                </c:pt>
                <c:pt idx="10">
                  <c:v>1.05021356141983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473908436341704E-6</c:v>
                </c:pt>
                <c:pt idx="1">
                  <c:v>1.1953898568076221E-5</c:v>
                </c:pt>
                <c:pt idx="2">
                  <c:v>5.1390733047545947E-4</c:v>
                </c:pt>
                <c:pt idx="3">
                  <c:v>1.3002985246683009E-3</c:v>
                </c:pt>
                <c:pt idx="4">
                  <c:v>5.773384667480337E-3</c:v>
                </c:pt>
                <c:pt idx="5">
                  <c:v>2.0822727562430789E-2</c:v>
                </c:pt>
                <c:pt idx="6">
                  <c:v>6.2255485733460391E-4</c:v>
                </c:pt>
                <c:pt idx="7">
                  <c:v>1.3421650369286059E-2</c:v>
                </c:pt>
                <c:pt idx="8">
                  <c:v>7.0342800306228803E-4</c:v>
                </c:pt>
                <c:pt idx="9">
                  <c:v>2.6473908436341704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453761234676208E-2</c:v>
                </c:pt>
                <c:pt idx="1">
                  <c:v>6.4631983470156027E-3</c:v>
                </c:pt>
                <c:pt idx="2">
                  <c:v>9.5637807021718858E-3</c:v>
                </c:pt>
                <c:pt idx="3">
                  <c:v>4.3969498527626875E-2</c:v>
                </c:pt>
                <c:pt idx="4">
                  <c:v>3.4569141958914328E-2</c:v>
                </c:pt>
                <c:pt idx="5">
                  <c:v>6.2019815697241874E-2</c:v>
                </c:pt>
                <c:pt idx="6">
                  <c:v>8.5211929036316872E-2</c:v>
                </c:pt>
                <c:pt idx="7">
                  <c:v>0.10253937497494123</c:v>
                </c:pt>
                <c:pt idx="8">
                  <c:v>0.12801600663594059</c:v>
                </c:pt>
                <c:pt idx="9">
                  <c:v>2.8992569900204164E-2</c:v>
                </c:pt>
                <c:pt idx="10">
                  <c:v>4.16698738219850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316723015151536E-2</c:v>
                </c:pt>
                <c:pt idx="1">
                  <c:v>5.8300944817091241E-3</c:v>
                </c:pt>
                <c:pt idx="2">
                  <c:v>8.8947086516282838E-3</c:v>
                </c:pt>
                <c:pt idx="3">
                  <c:v>2.7998239806193429E-2</c:v>
                </c:pt>
                <c:pt idx="4">
                  <c:v>0.10843584406279787</c:v>
                </c:pt>
                <c:pt idx="5">
                  <c:v>6.6817643340029861E-2</c:v>
                </c:pt>
                <c:pt idx="6">
                  <c:v>0.21500199380686644</c:v>
                </c:pt>
                <c:pt idx="7">
                  <c:v>0.26504918493742546</c:v>
                </c:pt>
                <c:pt idx="8">
                  <c:v>0.15835274753479345</c:v>
                </c:pt>
                <c:pt idx="9">
                  <c:v>4.9964832384693902E-2</c:v>
                </c:pt>
                <c:pt idx="10">
                  <c:v>1.7337987978710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325241975488328E-2</c:v>
                </c:pt>
                <c:pt idx="3">
                  <c:v>7.8544178843273204E-3</c:v>
                </c:pt>
                <c:pt idx="4">
                  <c:v>4.021002413642601E-6</c:v>
                </c:pt>
                <c:pt idx="5">
                  <c:v>2.9255772409252888E-2</c:v>
                </c:pt>
                <c:pt idx="6">
                  <c:v>1.1554063221143895E-2</c:v>
                </c:pt>
                <c:pt idx="7">
                  <c:v>0.12426469957313828</c:v>
                </c:pt>
                <c:pt idx="8">
                  <c:v>0.13704075260814963</c:v>
                </c:pt>
                <c:pt idx="9">
                  <c:v>4.9143614445321927E-2</c:v>
                </c:pt>
                <c:pt idx="10">
                  <c:v>1.73379879787106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4258240478993E-2</c:v>
                </c:pt>
                <c:pt idx="6">
                  <c:v>8.97559542339557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8676388325579563E-3</c:v>
                </c:pt>
                <c:pt idx="7">
                  <c:v>4.11365420765052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4991481039663208E-2</c:v>
                </c:pt>
                <c:pt idx="1">
                  <c:v>5.8300944817091241E-3</c:v>
                </c:pt>
                <c:pt idx="2">
                  <c:v>8.8947086516282855E-3</c:v>
                </c:pt>
                <c:pt idx="3">
                  <c:v>2.0143821921866107E-2</c:v>
                </c:pt>
                <c:pt idx="4">
                  <c:v>6.3089240655594292E-2</c:v>
                </c:pt>
                <c:pt idx="5">
                  <c:v>3.2694232098219013E-2</c:v>
                </c:pt>
                <c:pt idx="6">
                  <c:v>0.11369197635176677</c:v>
                </c:pt>
                <c:pt idx="7">
                  <c:v>9.9647943287781954E-2</c:v>
                </c:pt>
                <c:pt idx="8">
                  <c:v>2.1311994926643811E-2</c:v>
                </c:pt>
                <c:pt idx="9">
                  <c:v>8.212179393719717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5987114333624997E-2</c:v>
                </c:pt>
                <c:pt idx="1">
                  <c:v>6.0732707532325939E-3</c:v>
                </c:pt>
                <c:pt idx="2">
                  <c:v>8.8722276757410151E-3</c:v>
                </c:pt>
                <c:pt idx="3">
                  <c:v>2.6528305498242234E-2</c:v>
                </c:pt>
                <c:pt idx="4">
                  <c:v>0.10924557874443218</c:v>
                </c:pt>
                <c:pt idx="5">
                  <c:v>6.8545123084831822E-2</c:v>
                </c:pt>
                <c:pt idx="6">
                  <c:v>0.21779239683916565</c:v>
                </c:pt>
                <c:pt idx="7">
                  <c:v>0.26116784386660485</c:v>
                </c:pt>
                <c:pt idx="8">
                  <c:v>0.15849901127415009</c:v>
                </c:pt>
                <c:pt idx="9">
                  <c:v>5.249614448092027E-2</c:v>
                </c:pt>
                <c:pt idx="10">
                  <c:v>1.4792983449054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3329241847568E-2</c:v>
                </c:pt>
                <c:pt idx="3">
                  <c:v>7.2872138615898722E-3</c:v>
                </c:pt>
                <c:pt idx="4">
                  <c:v>5.7310726737290886E-4</c:v>
                </c:pt>
                <c:pt idx="5">
                  <c:v>2.9263017236131936E-2</c:v>
                </c:pt>
                <c:pt idx="6">
                  <c:v>1.1557381920744281E-2</c:v>
                </c:pt>
                <c:pt idx="7">
                  <c:v>0.12438438730688962</c:v>
                </c:pt>
                <c:pt idx="8">
                  <c:v>0.1369880787296188</c:v>
                </c:pt>
                <c:pt idx="9">
                  <c:v>5.1735760166154061E-2</c:v>
                </c:pt>
                <c:pt idx="10">
                  <c:v>1.4762961663508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54406998810798E-2</c:v>
                </c:pt>
                <c:pt idx="6">
                  <c:v>8.977932371618711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5.9971748637932061E-5</c:v>
                </c:pt>
                <c:pt idx="5">
                  <c:v>4.8088364600939191E-3</c:v>
                </c:pt>
                <c:pt idx="6">
                  <c:v>6.8662265506422814E-4</c:v>
                </c:pt>
                <c:pt idx="7">
                  <c:v>4.04604250201417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4654190148868197E-2</c:v>
                </c:pt>
                <c:pt idx="1">
                  <c:v>6.0732707532325939E-3</c:v>
                </c:pt>
                <c:pt idx="2">
                  <c:v>8.8722276757410151E-3</c:v>
                </c:pt>
                <c:pt idx="3">
                  <c:v>1.9241091636652361E-2</c:v>
                </c:pt>
                <c:pt idx="4">
                  <c:v>6.3258092729610554E-2</c:v>
                </c:pt>
                <c:pt idx="5">
                  <c:v>3.4473269388605975E-2</c:v>
                </c:pt>
                <c:pt idx="6">
                  <c:v>0.11576906854717002</c:v>
                </c:pt>
                <c:pt idx="7">
                  <c:v>9.6323031539573542E-2</c:v>
                </c:pt>
                <c:pt idx="8">
                  <c:v>2.1510932544531267E-2</c:v>
                </c:pt>
                <c:pt idx="9">
                  <c:v>7.6038431476621159E-4</c:v>
                </c:pt>
                <c:pt idx="10">
                  <c:v>3.002178554569533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5000000000000001E-3</c:v>
                </c:pt>
                <c:pt idx="5">
                  <c:v>0.30730000000000002</c:v>
                </c:pt>
                <c:pt idx="7">
                  <c:v>0.22969999999999999</c:v>
                </c:pt>
                <c:pt idx="8">
                  <c:v>0.4158</c:v>
                </c:pt>
                <c:pt idx="9">
                  <c:v>4.0800000000000003E-2</c:v>
                </c:pt>
                <c:pt idx="10">
                  <c:v>2.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616463290543E-2</c:v>
                </c:pt>
                <c:pt idx="1">
                  <c:v>1.943607065106312E-2</c:v>
                </c:pt>
                <c:pt idx="2">
                  <c:v>2.1086411109909761E-2</c:v>
                </c:pt>
                <c:pt idx="3">
                  <c:v>4.6569808706570494E-2</c:v>
                </c:pt>
                <c:pt idx="4">
                  <c:v>7.4623720110834207E-2</c:v>
                </c:pt>
                <c:pt idx="5">
                  <c:v>9.5998943434238371E-2</c:v>
                </c:pt>
                <c:pt idx="6">
                  <c:v>0.12652950462795648</c:v>
                </c:pt>
                <c:pt idx="7">
                  <c:v>0.1782603291847292</c:v>
                </c:pt>
                <c:pt idx="8">
                  <c:v>0.23029496867179489</c:v>
                </c:pt>
                <c:pt idx="9">
                  <c:v>0.103249599446479</c:v>
                </c:pt>
                <c:pt idx="10">
                  <c:v>8.34090275931339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9279423796796788E-5</c:v>
                </c:pt>
                <c:pt idx="5">
                  <c:v>5.2079563115113294E-3</c:v>
                </c:pt>
                <c:pt idx="6">
                  <c:v>4.9400061640588104E-6</c:v>
                </c:pt>
                <c:pt idx="7">
                  <c:v>3.8935850347138583E-3</c:v>
                </c:pt>
                <c:pt idx="8">
                  <c:v>7.0470442762083163E-3</c:v>
                </c:pt>
                <c:pt idx="9">
                  <c:v>6.9201372213040474E-4</c:v>
                </c:pt>
                <c:pt idx="10">
                  <c:v>4.275920576276542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921771340623941E-3</c:v>
                </c:pt>
                <c:pt idx="1">
                  <c:v>2.1420635230555356E-3</c:v>
                </c:pt>
                <c:pt idx="2">
                  <c:v>2.7072696665837374E-3</c:v>
                </c:pt>
                <c:pt idx="3">
                  <c:v>7.9412263527332237E-3</c:v>
                </c:pt>
                <c:pt idx="4">
                  <c:v>2.4591218049615334E-2</c:v>
                </c:pt>
                <c:pt idx="5">
                  <c:v>1.4845139184221803E-2</c:v>
                </c:pt>
                <c:pt idx="6">
                  <c:v>3.1595123419666069E-2</c:v>
                </c:pt>
                <c:pt idx="7">
                  <c:v>5.7402361241414859E-2</c:v>
                </c:pt>
                <c:pt idx="8">
                  <c:v>0.11442790950146151</c:v>
                </c:pt>
                <c:pt idx="9">
                  <c:v>7.4890550012087637E-2</c:v>
                </c:pt>
                <c:pt idx="10">
                  <c:v>7.092809486774834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106726651197564E-4</c:v>
                </c:pt>
                <c:pt idx="3">
                  <c:v>2.5752724158044463E-4</c:v>
                </c:pt>
                <c:pt idx="4">
                  <c:v>7.6755849657293186E-4</c:v>
                </c:pt>
                <c:pt idx="5">
                  <c:v>1.7700729967702365E-2</c:v>
                </c:pt>
                <c:pt idx="6">
                  <c:v>8.2280119803874781E-3</c:v>
                </c:pt>
                <c:pt idx="7">
                  <c:v>2.0731036897066631E-3</c:v>
                </c:pt>
                <c:pt idx="8">
                  <c:v>9.6046450195280144E-4</c:v>
                </c:pt>
                <c:pt idx="10">
                  <c:v>6.320971298628553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7868256623146334E-5</c:v>
                </c:pt>
                <c:pt idx="4">
                  <c:v>4.6582866759189469E-3</c:v>
                </c:pt>
                <c:pt idx="5">
                  <c:v>2.7605649081307319E-5</c:v>
                </c:pt>
                <c:pt idx="6">
                  <c:v>1.0789057334480693E-2</c:v>
                </c:pt>
                <c:pt idx="7">
                  <c:v>2.4157728932773675E-3</c:v>
                </c:pt>
                <c:pt idx="8">
                  <c:v>1.42954819018956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1571072605003E-2</c:v>
                </c:pt>
                <c:pt idx="1">
                  <c:v>1.7294007128007584E-2</c:v>
                </c:pt>
                <c:pt idx="2">
                  <c:v>1.7768468778206266E-2</c:v>
                </c:pt>
                <c:pt idx="3">
                  <c:v>3.8371055112256823E-2</c:v>
                </c:pt>
                <c:pt idx="4">
                  <c:v>4.4547377464930198E-2</c:v>
                </c:pt>
                <c:pt idx="5">
                  <c:v>5.8217512321721558E-2</c:v>
                </c:pt>
                <c:pt idx="6">
                  <c:v>7.5912371887258176E-2</c:v>
                </c:pt>
                <c:pt idx="7">
                  <c:v>0.11247550632561645</c:v>
                </c:pt>
                <c:pt idx="8">
                  <c:v>9.3564068490276597E-2</c:v>
                </c:pt>
                <c:pt idx="9">
                  <c:v>2.7667035712260962E-2</c:v>
                </c:pt>
                <c:pt idx="10">
                  <c:v>1.24318525483241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7000000000000002E-3</c:v>
                </c:pt>
                <c:pt idx="5">
                  <c:v>0.1583</c:v>
                </c:pt>
                <c:pt idx="6">
                  <c:v>0.13350000000000001</c:v>
                </c:pt>
                <c:pt idx="7">
                  <c:v>0.27910000000000001</c:v>
                </c:pt>
                <c:pt idx="8">
                  <c:v>0.37440000000000001</c:v>
                </c:pt>
                <c:pt idx="9">
                  <c:v>4.7E-2</c:v>
                </c:pt>
                <c:pt idx="10">
                  <c:v>4.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91E-2</c:v>
                </c:pt>
                <c:pt idx="1">
                  <c:v>2.5712148835382802E-2</c:v>
                </c:pt>
                <c:pt idx="2">
                  <c:v>3.3589224880169168E-2</c:v>
                </c:pt>
                <c:pt idx="3">
                  <c:v>4.7555465818613675E-2</c:v>
                </c:pt>
                <c:pt idx="4">
                  <c:v>7.2169314610381535E-2</c:v>
                </c:pt>
                <c:pt idx="5">
                  <c:v>0.11538975237199361</c:v>
                </c:pt>
                <c:pt idx="6">
                  <c:v>0.13910064653920554</c:v>
                </c:pt>
                <c:pt idx="7">
                  <c:v>0.18415888055193394</c:v>
                </c:pt>
                <c:pt idx="8">
                  <c:v>0.19567579739573701</c:v>
                </c:pt>
                <c:pt idx="9">
                  <c:v>0.13733259935179568</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8.6233022369722745E-5</c:v>
                </c:pt>
                <c:pt idx="5">
                  <c:v>3.6642986528543759E-3</c:v>
                </c:pt>
                <c:pt idx="6">
                  <c:v>3.0894232753136022E-3</c:v>
                </c:pt>
                <c:pt idx="7">
                  <c:v>6.4601847886509864E-3</c:v>
                </c:pt>
                <c:pt idx="8">
                  <c:v>8.665698137942348E-3</c:v>
                </c:pt>
                <c:pt idx="9">
                  <c:v>1.0880785308658759E-3</c:v>
                </c:pt>
                <c:pt idx="10">
                  <c:v>9.276569711450426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9319527516815E-2</c:v>
                </c:pt>
                <c:pt idx="1">
                  <c:v>2.3982774396166601E-2</c:v>
                </c:pt>
                <c:pt idx="2">
                  <c:v>2.0915269681552825E-2</c:v>
                </c:pt>
                <c:pt idx="3">
                  <c:v>3.8324569068872008E-2</c:v>
                </c:pt>
                <c:pt idx="4">
                  <c:v>4.366841711180576E-2</c:v>
                </c:pt>
                <c:pt idx="5">
                  <c:v>6.1961849471166043E-2</c:v>
                </c:pt>
                <c:pt idx="6">
                  <c:v>9.438126661194203E-2</c:v>
                </c:pt>
                <c:pt idx="7">
                  <c:v>0.12199797108762549</c:v>
                </c:pt>
                <c:pt idx="8">
                  <c:v>0.10833035016432015</c:v>
                </c:pt>
                <c:pt idx="9">
                  <c:v>3.2705267771335242E-2</c:v>
                </c:pt>
                <c:pt idx="10">
                  <c:v>9.83439493658771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6999999999999999E-3</c:v>
                </c:pt>
                <c:pt idx="5">
                  <c:v>0.3377</c:v>
                </c:pt>
                <c:pt idx="6">
                  <c:v>3.1699999999999999E-2</c:v>
                </c:pt>
                <c:pt idx="7">
                  <c:v>0.14799999999999999</c:v>
                </c:pt>
                <c:pt idx="8">
                  <c:v>0.43740000000000001</c:v>
                </c:pt>
                <c:pt idx="9">
                  <c:v>4.34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54865016887852E-2</c:v>
                </c:pt>
                <c:pt idx="1">
                  <c:v>1.7854306339291241E-2</c:v>
                </c:pt>
                <c:pt idx="2">
                  <c:v>1.9757008334856999E-2</c:v>
                </c:pt>
                <c:pt idx="3">
                  <c:v>7.1916156947476731E-2</c:v>
                </c:pt>
                <c:pt idx="4">
                  <c:v>8.5814770730434295E-2</c:v>
                </c:pt>
                <c:pt idx="5">
                  <c:v>9.9084588506396107E-2</c:v>
                </c:pt>
                <c:pt idx="6">
                  <c:v>0.10769317427022629</c:v>
                </c:pt>
                <c:pt idx="7">
                  <c:v>0.1868790002725855</c:v>
                </c:pt>
                <c:pt idx="8">
                  <c:v>0.1795843643903467</c:v>
                </c:pt>
                <c:pt idx="9">
                  <c:v>0.14013474962838257</c:v>
                </c:pt>
                <c:pt idx="10">
                  <c:v>5.952701556311577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922741228498319E-5</c:v>
                </c:pt>
                <c:pt idx="5">
                  <c:v>5.2027942604307969E-3</c:v>
                </c:pt>
                <c:pt idx="6">
                  <c:v>4.8835037174443409E-4</c:v>
                </c:pt>
                <c:pt idx="7">
                  <c:v>2.2802319402008037E-3</c:v>
                </c:pt>
                <c:pt idx="8">
                  <c:v>6.739216948338604E-3</c:v>
                </c:pt>
                <c:pt idx="9">
                  <c:v>6.6873521730281631E-4</c:v>
                </c:pt>
                <c:pt idx="10">
                  <c:v>2.865000601415967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524499781294395E-2</c:v>
                </c:pt>
                <c:pt idx="1">
                  <c:v>3.0788563674620463E-4</c:v>
                </c:pt>
                <c:pt idx="2">
                  <c:v>2.0201725298403519E-3</c:v>
                </c:pt>
                <c:pt idx="3">
                  <c:v>2.9713822059589483E-2</c:v>
                </c:pt>
                <c:pt idx="4">
                  <c:v>3.7113870680302571E-2</c:v>
                </c:pt>
                <c:pt idx="5">
                  <c:v>1.7732229765588213E-2</c:v>
                </c:pt>
                <c:pt idx="6">
                  <c:v>2.4990044880482353E-2</c:v>
                </c:pt>
                <c:pt idx="7">
                  <c:v>6.5161430428574696E-2</c:v>
                </c:pt>
                <c:pt idx="8">
                  <c:v>8.7280141403426992E-2</c:v>
                </c:pt>
                <c:pt idx="9">
                  <c:v>0.10901798911563682</c:v>
                </c:pt>
                <c:pt idx="10">
                  <c:v>5.25631687935848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109278530617445E-3</c:v>
                </c:pt>
                <c:pt idx="1">
                  <c:v>2.4577297466916054E-4</c:v>
                </c:pt>
                <c:pt idx="2">
                  <c:v>1.1109232668569356E-3</c:v>
                </c:pt>
                <c:pt idx="3">
                  <c:v>4.9325393046608832E-4</c:v>
                </c:pt>
                <c:pt idx="4">
                  <c:v>3.5634161230261451E-3</c:v>
                </c:pt>
                <c:pt idx="5">
                  <c:v>1.3970158908553118E-2</c:v>
                </c:pt>
                <c:pt idx="6">
                  <c:v>7.7404630335184488E-3</c:v>
                </c:pt>
                <c:pt idx="7">
                  <c:v>1.877042058448497E-2</c:v>
                </c:pt>
                <c:pt idx="8">
                  <c:v>1.1120805618114115E-2</c:v>
                </c:pt>
                <c:pt idx="9">
                  <c:v>1.22748195959396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790845683411997E-4</c:v>
                </c:pt>
                <c:pt idx="1">
                  <c:v>1.8695644068788015E-3</c:v>
                </c:pt>
                <c:pt idx="2">
                  <c:v>1.0806010922225264E-4</c:v>
                </c:pt>
                <c:pt idx="3">
                  <c:v>8.0737645313691379E-4</c:v>
                </c:pt>
                <c:pt idx="4">
                  <c:v>2.624971401990992E-3</c:v>
                </c:pt>
                <c:pt idx="5">
                  <c:v>1.1129585192072491E-2</c:v>
                </c:pt>
                <c:pt idx="6">
                  <c:v>3.8826625890802722E-3</c:v>
                </c:pt>
                <c:pt idx="7">
                  <c:v>6.9707255257826376E-3</c:v>
                </c:pt>
                <c:pt idx="8">
                  <c:v>4.157881709353794E-3</c:v>
                </c:pt>
                <c:pt idx="9">
                  <c:v>1.6670887537985396E-3</c:v>
                </c:pt>
                <c:pt idx="10">
                  <c:v>4.983285627813463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181528925697584E-2</c:v>
                </c:pt>
                <c:pt idx="1">
                  <c:v>1.5431083320997073E-2</c:v>
                </c:pt>
                <c:pt idx="2">
                  <c:v>1.6517852428937455E-2</c:v>
                </c:pt>
                <c:pt idx="3">
                  <c:v>4.090170450428425E-2</c:v>
                </c:pt>
                <c:pt idx="4">
                  <c:v>4.2485589783886092E-2</c:v>
                </c:pt>
                <c:pt idx="5">
                  <c:v>5.1049820379751476E-2</c:v>
                </c:pt>
                <c:pt idx="6">
                  <c:v>7.0591653395400786E-2</c:v>
                </c:pt>
                <c:pt idx="7">
                  <c:v>9.369619179354241E-2</c:v>
                </c:pt>
                <c:pt idx="8">
                  <c:v>7.0286318711113141E-2</c:v>
                </c:pt>
                <c:pt idx="9">
                  <c:v>1.6506116945704731E-2</c:v>
                </c:pt>
                <c:pt idx="10">
                  <c:v>1.980274641657363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4.3E-3</c:v>
                </c:pt>
                <c:pt idx="5">
                  <c:v>0.15179999999999999</c:v>
                </c:pt>
                <c:pt idx="7">
                  <c:v>0.2767</c:v>
                </c:pt>
                <c:pt idx="8">
                  <c:v>0.51339999999999997</c:v>
                </c:pt>
                <c:pt idx="9">
                  <c:v>5.0599999999999999E-2</c:v>
                </c:pt>
                <c:pt idx="10">
                  <c:v>3.0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8110296604864E-2</c:v>
                </c:pt>
                <c:pt idx="1">
                  <c:v>1.9858810620282621E-2</c:v>
                </c:pt>
                <c:pt idx="2">
                  <c:v>2.0672714894646352E-2</c:v>
                </c:pt>
                <c:pt idx="3">
                  <c:v>3.8161812694447787E-2</c:v>
                </c:pt>
                <c:pt idx="4">
                  <c:v>6.1731993688228556E-2</c:v>
                </c:pt>
                <c:pt idx="5">
                  <c:v>9.8981786600117777E-2</c:v>
                </c:pt>
                <c:pt idx="6">
                  <c:v>0.13314597481758586</c:v>
                </c:pt>
                <c:pt idx="7">
                  <c:v>0.17875425689666183</c:v>
                </c:pt>
                <c:pt idx="8">
                  <c:v>0.24426115458186037</c:v>
                </c:pt>
                <c:pt idx="9">
                  <c:v>9.5031807146880379E-2</c:v>
                </c:pt>
                <c:pt idx="10">
                  <c:v>9.269157776268363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7.0155604646345181E-5</c:v>
                </c:pt>
                <c:pt idx="5">
                  <c:v>2.4554123063390602E-3</c:v>
                </c:pt>
                <c:pt idx="7">
                  <c:v>4.4743886544813226E-3</c:v>
                </c:pt>
                <c:pt idx="8">
                  <c:v>8.3016783242774849E-3</c:v>
                </c:pt>
                <c:pt idx="9">
                  <c:v>8.1897963897297203E-4</c:v>
                </c:pt>
                <c:pt idx="10">
                  <c:v>5.060437066269851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73189813964219E-4</c:v>
                </c:pt>
                <c:pt idx="1">
                  <c:v>2.5333548560802343E-3</c:v>
                </c:pt>
                <c:pt idx="2">
                  <c:v>3.0262100015485864E-3</c:v>
                </c:pt>
                <c:pt idx="3">
                  <c:v>4.7130762192403126E-3</c:v>
                </c:pt>
                <c:pt idx="4">
                  <c:v>1.9800482400325271E-2</c:v>
                </c:pt>
                <c:pt idx="5">
                  <c:v>1.4515981375178566E-2</c:v>
                </c:pt>
                <c:pt idx="6">
                  <c:v>3.3435394791314271E-2</c:v>
                </c:pt>
                <c:pt idx="7">
                  <c:v>5.5243147729927299E-2</c:v>
                </c:pt>
                <c:pt idx="8">
                  <c:v>0.12135045966336895</c:v>
                </c:pt>
                <c:pt idx="9">
                  <c:v>6.6616531205523813E-2</c:v>
                </c:pt>
                <c:pt idx="10">
                  <c:v>7.79209825194285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271468442961797E-4</c:v>
                </c:pt>
                <c:pt idx="3">
                  <c:v>3.0477656813792715E-4</c:v>
                </c:pt>
                <c:pt idx="4">
                  <c:v>9.0838484889968593E-4</c:v>
                </c:pt>
                <c:pt idx="5">
                  <c:v>2.0948338125259296E-2</c:v>
                </c:pt>
                <c:pt idx="6">
                  <c:v>9.7376310117347539E-3</c:v>
                </c:pt>
                <c:pt idx="7">
                  <c:v>2.453462492221442E-3</c:v>
                </c:pt>
                <c:pt idx="8">
                  <c:v>1.1366839209980748E-3</c:v>
                </c:pt>
                <c:pt idx="10">
                  <c:v>7.480699625684319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650795025857059E-5</c:v>
                </c:pt>
                <c:pt idx="4">
                  <c:v>5.5129570672845553E-3</c:v>
                </c:pt>
                <c:pt idx="5">
                  <c:v>5.1707777704791841E-7</c:v>
                </c:pt>
                <c:pt idx="6">
                  <c:v>1.2561755937774935E-2</c:v>
                </c:pt>
                <c:pt idx="7">
                  <c:v>2.8590022837786488E-3</c:v>
                </c:pt>
                <c:pt idx="8">
                  <c:v>1.64627391937931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5727603439363E-2</c:v>
                </c:pt>
                <c:pt idx="1">
                  <c:v>1.7325455764202389E-2</c:v>
                </c:pt>
                <c:pt idx="2">
                  <c:v>1.6923790208668153E-2</c:v>
                </c:pt>
                <c:pt idx="3">
                  <c:v>3.3143959907069552E-2</c:v>
                </c:pt>
                <c:pt idx="4">
                  <c:v>3.5440013767072696E-2</c:v>
                </c:pt>
                <c:pt idx="5">
                  <c:v>6.1061537715563802E-2</c:v>
                </c:pt>
                <c:pt idx="6">
                  <c:v>7.7411193076761919E-2</c:v>
                </c:pt>
                <c:pt idx="7">
                  <c:v>0.11372425573625311</c:v>
                </c:pt>
                <c:pt idx="8">
                  <c:v>9.7009593479422701E-2</c:v>
                </c:pt>
                <c:pt idx="9">
                  <c:v>2.7596296302383586E-2</c:v>
                </c:pt>
                <c:pt idx="10">
                  <c:v>1.471251017296664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43E-2</c:v>
                </c:pt>
                <c:pt idx="6">
                  <c:v>0.11600000000000001</c:v>
                </c:pt>
                <c:pt idx="7">
                  <c:v>0.34820000000000001</c:v>
                </c:pt>
                <c:pt idx="8">
                  <c:v>0.45779999999999998</c:v>
                </c:pt>
                <c:pt idx="9">
                  <c:v>5.8599999999999999E-2</c:v>
                </c:pt>
                <c:pt idx="10">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616463290543E-2</c:v>
                </c:pt>
                <c:pt idx="1">
                  <c:v>1.943607065106312E-2</c:v>
                </c:pt>
                <c:pt idx="2">
                  <c:v>2.1086411109909761E-2</c:v>
                </c:pt>
                <c:pt idx="3">
                  <c:v>4.6569808706570494E-2</c:v>
                </c:pt>
                <c:pt idx="4">
                  <c:v>7.4623720110834207E-2</c:v>
                </c:pt>
                <c:pt idx="5">
                  <c:v>9.5998943434238371E-2</c:v>
                </c:pt>
                <c:pt idx="6">
                  <c:v>0.12652950462795648</c:v>
                </c:pt>
                <c:pt idx="7">
                  <c:v>0.1782603291847292</c:v>
                </c:pt>
                <c:pt idx="8">
                  <c:v>0.23029496867179489</c:v>
                </c:pt>
                <c:pt idx="9">
                  <c:v>0.103249599446479</c:v>
                </c:pt>
                <c:pt idx="10">
                  <c:v>8.34090275931339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26282793982239E-2</c:v>
                </c:pt>
                <c:pt idx="1">
                  <c:v>1.1038921196886058E-3</c:v>
                </c:pt>
                <c:pt idx="2">
                  <c:v>1.5283985064629768E-3</c:v>
                </c:pt>
                <c:pt idx="3">
                  <c:v>0.24076304159164355</c:v>
                </c:pt>
                <c:pt idx="4">
                  <c:v>0.25076624691744265</c:v>
                </c:pt>
                <c:pt idx="5">
                  <c:v>9.5022570744421747E-2</c:v>
                </c:pt>
                <c:pt idx="6">
                  <c:v>1.7767509229297949E-2</c:v>
                </c:pt>
                <c:pt idx="7">
                  <c:v>0.1586232953835337</c:v>
                </c:pt>
                <c:pt idx="8">
                  <c:v>0.20675803051853367</c:v>
                </c:pt>
                <c:pt idx="9">
                  <c:v>9.640732194992920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E-2</c:v>
                </c:pt>
                <c:pt idx="1">
                  <c:v>2.6808770478219595E-2</c:v>
                </c:pt>
                <c:pt idx="2">
                  <c:v>3.3618921453349215E-2</c:v>
                </c:pt>
                <c:pt idx="3">
                  <c:v>4.3193698660743136E-2</c:v>
                </c:pt>
                <c:pt idx="4">
                  <c:v>6.0866470201537952E-2</c:v>
                </c:pt>
                <c:pt idx="5">
                  <c:v>0.11629275414523582</c:v>
                </c:pt>
                <c:pt idx="6">
                  <c:v>0.14114999538782796</c:v>
                </c:pt>
                <c:pt idx="7">
                  <c:v>0.18708207317322248</c:v>
                </c:pt>
                <c:pt idx="8">
                  <c:v>0.19672272953911321</c:v>
                </c:pt>
                <c:pt idx="9">
                  <c:v>0.14353338057932885</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8307076701529591E-7</c:v>
                </c:pt>
                <c:pt idx="5">
                  <c:v>2.7913240113678099E-4</c:v>
                </c:pt>
                <c:pt idx="6">
                  <c:v>2.2620463993700407E-3</c:v>
                </c:pt>
                <c:pt idx="7">
                  <c:v>6.7875633200204372E-3</c:v>
                </c:pt>
                <c:pt idx="8">
                  <c:v>8.9228132955084145E-3</c:v>
                </c:pt>
                <c:pt idx="9">
                  <c:v>1.1432183702208248E-3</c:v>
                </c:pt>
                <c:pt idx="10">
                  <c:v>9.746672327340947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7351958155912E-2</c:v>
                </c:pt>
                <c:pt idx="1">
                  <c:v>2.518442874477228E-2</c:v>
                </c:pt>
                <c:pt idx="2">
                  <c:v>2.1925082390409897E-2</c:v>
                </c:pt>
                <c:pt idx="3">
                  <c:v>4.0162820218543588E-2</c:v>
                </c:pt>
                <c:pt idx="4">
                  <c:v>3.9891344726032202E-2</c:v>
                </c:pt>
                <c:pt idx="5">
                  <c:v>6.1754374158900532E-2</c:v>
                </c:pt>
                <c:pt idx="6">
                  <c:v>8.564240580050983E-2</c:v>
                </c:pt>
                <c:pt idx="7">
                  <c:v>0.11592451948369127</c:v>
                </c:pt>
                <c:pt idx="8">
                  <c:v>9.5995686460921686E-2</c:v>
                </c:pt>
                <c:pt idx="9">
                  <c:v>3.3807779848202664E-2</c:v>
                </c:pt>
                <c:pt idx="10">
                  <c:v>1.033276609415944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3E-3</c:v>
                </c:pt>
                <c:pt idx="5">
                  <c:v>0.17979999999999999</c:v>
                </c:pt>
                <c:pt idx="6">
                  <c:v>2.9499999999999998E-2</c:v>
                </c:pt>
                <c:pt idx="7">
                  <c:v>0.1542</c:v>
                </c:pt>
                <c:pt idx="8">
                  <c:v>0.57679999999999998</c:v>
                </c:pt>
                <c:pt idx="9">
                  <c:v>5.72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540631649573792E-2</c:v>
                </c:pt>
                <c:pt idx="1">
                  <c:v>1.2093629714621367E-2</c:v>
                </c:pt>
                <c:pt idx="2">
                  <c:v>1.4394612949775013E-2</c:v>
                </c:pt>
                <c:pt idx="3">
                  <c:v>7.4180268807938307E-2</c:v>
                </c:pt>
                <c:pt idx="4">
                  <c:v>5.4718543977765807E-2</c:v>
                </c:pt>
                <c:pt idx="5">
                  <c:v>0.1256468879206534</c:v>
                </c:pt>
                <c:pt idx="6">
                  <c:v>0.11871841643855079</c:v>
                </c:pt>
                <c:pt idx="7">
                  <c:v>0.18860584810262948</c:v>
                </c:pt>
                <c:pt idx="8">
                  <c:v>0.21497156766096434</c:v>
                </c:pt>
                <c:pt idx="9">
                  <c:v>0.11387875955480223</c:v>
                </c:pt>
                <c:pt idx="10">
                  <c:v>6.82508332227254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6738927006220936E-5</c:v>
                </c:pt>
                <c:pt idx="5">
                  <c:v>4.4272909257625044E-3</c:v>
                </c:pt>
                <c:pt idx="6">
                  <c:v>7.271674354298761E-4</c:v>
                </c:pt>
                <c:pt idx="7">
                  <c:v>3.7977808617816865E-3</c:v>
                </c:pt>
                <c:pt idx="8">
                  <c:v>1.4202711947701584E-2</c:v>
                </c:pt>
                <c:pt idx="9">
                  <c:v>1.4093408378813206E-3</c:v>
                </c:pt>
                <c:pt idx="10">
                  <c:v>6.037908941621792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720745271640937E-4</c:v>
                </c:pt>
                <c:pt idx="2">
                  <c:v>3.1818851213278902E-3</c:v>
                </c:pt>
                <c:pt idx="3">
                  <c:v>2.7208948376122387E-2</c:v>
                </c:pt>
                <c:pt idx="4">
                  <c:v>8.7593396436525996E-3</c:v>
                </c:pt>
                <c:pt idx="5">
                  <c:v>1.3677814461816037E-2</c:v>
                </c:pt>
                <c:pt idx="6">
                  <c:v>2.707670655893752E-2</c:v>
                </c:pt>
                <c:pt idx="7">
                  <c:v>5.44657529862888E-2</c:v>
                </c:pt>
                <c:pt idx="8">
                  <c:v>7.0461671638516993E-2</c:v>
                </c:pt>
                <c:pt idx="9">
                  <c:v>8.31537452144782E-2</c:v>
                </c:pt>
                <c:pt idx="10">
                  <c:v>5.358171022632857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1175041174765293E-5</c:v>
                </c:pt>
                <c:pt idx="1">
                  <c:v>8.3683095658208188E-4</c:v>
                </c:pt>
                <c:pt idx="2">
                  <c:v>2.2773366936928503E-4</c:v>
                </c:pt>
                <c:pt idx="3">
                  <c:v>1.7015233795207435E-3</c:v>
                </c:pt>
                <c:pt idx="4">
                  <c:v>5.5320540916290531E-3</c:v>
                </c:pt>
                <c:pt idx="5">
                  <c:v>2.3204282047865035E-2</c:v>
                </c:pt>
                <c:pt idx="6">
                  <c:v>4.9362750381778727E-3</c:v>
                </c:pt>
                <c:pt idx="7">
                  <c:v>1.0724824146192359E-2</c:v>
                </c:pt>
                <c:pt idx="8">
                  <c:v>7.8827629903259581E-3</c:v>
                </c:pt>
                <c:pt idx="9">
                  <c:v>1.7297970492762226E-3</c:v>
                </c:pt>
                <c:pt idx="10">
                  <c:v>1.05021356141983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473908436341704E-6</c:v>
                </c:pt>
                <c:pt idx="1">
                  <c:v>1.1953898568076221E-5</c:v>
                </c:pt>
                <c:pt idx="2">
                  <c:v>5.1390733047545947E-4</c:v>
                </c:pt>
                <c:pt idx="3">
                  <c:v>1.3002985246683009E-3</c:v>
                </c:pt>
                <c:pt idx="4">
                  <c:v>5.773384667480337E-3</c:v>
                </c:pt>
                <c:pt idx="5">
                  <c:v>2.0822727562430789E-2</c:v>
                </c:pt>
                <c:pt idx="6">
                  <c:v>6.2255485733460391E-4</c:v>
                </c:pt>
                <c:pt idx="7">
                  <c:v>1.3421650369286059E-2</c:v>
                </c:pt>
                <c:pt idx="8">
                  <c:v>7.0342800306228803E-4</c:v>
                </c:pt>
                <c:pt idx="9">
                  <c:v>2.6473908436341704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456809217555391E-2</c:v>
                </c:pt>
                <c:pt idx="1">
                  <c:v>1.0872770332307116E-2</c:v>
                </c:pt>
                <c:pt idx="2">
                  <c:v>1.0471086828602379E-2</c:v>
                </c:pt>
                <c:pt idx="3">
                  <c:v>4.3969498527626875E-2</c:v>
                </c:pt>
                <c:pt idx="4">
                  <c:v>3.4597026647997603E-2</c:v>
                </c:pt>
                <c:pt idx="5">
                  <c:v>6.3514772922779059E-2</c:v>
                </c:pt>
                <c:pt idx="6">
                  <c:v>8.5355712548670915E-2</c:v>
                </c:pt>
                <c:pt idx="7">
                  <c:v>0.10619583973908059</c:v>
                </c:pt>
                <c:pt idx="8">
                  <c:v>0.12172099308135753</c:v>
                </c:pt>
                <c:pt idx="9">
                  <c:v>2.7583229062322846E-2</c:v>
                </c:pt>
                <c:pt idx="10">
                  <c:v>4.16638359130434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9839999999999995</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26282793982239E-2</c:v>
                </c:pt>
                <c:pt idx="1">
                  <c:v>1.1038921196886058E-3</c:v>
                </c:pt>
                <c:pt idx="2">
                  <c:v>1.5283985064629768E-3</c:v>
                </c:pt>
                <c:pt idx="3">
                  <c:v>0.24076304159164355</c:v>
                </c:pt>
                <c:pt idx="4">
                  <c:v>0.25076624691744265</c:v>
                </c:pt>
                <c:pt idx="5">
                  <c:v>9.5022570744421747E-2</c:v>
                </c:pt>
                <c:pt idx="6">
                  <c:v>1.7767509229297949E-2</c:v>
                </c:pt>
                <c:pt idx="7">
                  <c:v>0.1586232953835337</c:v>
                </c:pt>
                <c:pt idx="8">
                  <c:v>0.20675803051853367</c:v>
                </c:pt>
                <c:pt idx="9">
                  <c:v>9.640732194992920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8.8105158819395804E-2</c:v>
                </c:pt>
                <c:pt idx="6">
                  <c:v>1.389120774672324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6575517088236E-5</c:v>
                </c:pt>
                <c:pt idx="3">
                  <c:v>0.23924680109143429</c:v>
                </c:pt>
                <c:pt idx="4">
                  <c:v>0.24636384199433134</c:v>
                </c:pt>
                <c:pt idx="5">
                  <c:v>3.6276016945006396E-3</c:v>
                </c:pt>
                <c:pt idx="6">
                  <c:v>9.0073457759649129E-4</c:v>
                </c:pt>
                <c:pt idx="7">
                  <c:v>4.8580577451545863E-2</c:v>
                </c:pt>
                <c:pt idx="8">
                  <c:v>4.2132135479022156E-2</c:v>
                </c:pt>
                <c:pt idx="9">
                  <c:v>6.202082372119530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6321252772669E-6</c:v>
                </c:pt>
                <c:pt idx="7">
                  <c:v>2.9625861764968077E-3</c:v>
                </c:pt>
                <c:pt idx="8">
                  <c:v>0.160235044793020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5.20037966619709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26282793982239E-2</c:v>
                </c:pt>
                <c:pt idx="1">
                  <c:v>1.1038921196886058E-3</c:v>
                </c:pt>
                <c:pt idx="2">
                  <c:v>1.4970619309458886E-3</c:v>
                </c:pt>
                <c:pt idx="3">
                  <c:v>1.5162405002092641E-3</c:v>
                </c:pt>
                <c:pt idx="4">
                  <c:v>4.3984192909860284E-3</c:v>
                </c:pt>
                <c:pt idx="5">
                  <c:v>3.2898102305253057E-3</c:v>
                </c:pt>
                <c:pt idx="6">
                  <c:v>1.6727862574234226E-2</c:v>
                </c:pt>
                <c:pt idx="7">
                  <c:v>5.5076335093520112E-2</c:v>
                </c:pt>
                <c:pt idx="8">
                  <c:v>4.3908502464912362E-3</c:v>
                </c:pt>
                <c:pt idx="9">
                  <c:v>3.43864982287338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9400000000000001E-2</c:v>
                </c:pt>
                <c:pt idx="5">
                  <c:v>0.76880000000000004</c:v>
                </c:pt>
                <c:pt idx="6">
                  <c:v>0.21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6</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6575517088236E-5</c:v>
                </c:pt>
                <c:pt idx="3">
                  <c:v>0.23924680109143429</c:v>
                </c:pt>
                <c:pt idx="4">
                  <c:v>0.24636384199433134</c:v>
                </c:pt>
                <c:pt idx="5">
                  <c:v>3.6276016945006396E-3</c:v>
                </c:pt>
                <c:pt idx="6">
                  <c:v>9.0073457759649129E-4</c:v>
                </c:pt>
                <c:pt idx="7">
                  <c:v>4.8580577451545863E-2</c:v>
                </c:pt>
                <c:pt idx="8">
                  <c:v>4.2132135479022156E-2</c:v>
                </c:pt>
                <c:pt idx="9">
                  <c:v>6.202082372119530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6321252772669E-6</c:v>
                </c:pt>
                <c:pt idx="7">
                  <c:v>2.9625861764968077E-3</c:v>
                </c:pt>
                <c:pt idx="8">
                  <c:v>0.160235044793020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8105158819395804E-2</c:v>
                </c:pt>
                <c:pt idx="6">
                  <c:v>1.389120774672324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26282793982239E-2</c:v>
                </c:pt>
                <c:pt idx="1">
                  <c:v>1.1038921196886058E-3</c:v>
                </c:pt>
                <c:pt idx="2">
                  <c:v>1.4970619309458886E-3</c:v>
                </c:pt>
                <c:pt idx="3">
                  <c:v>1.5162405002092641E-3</c:v>
                </c:pt>
                <c:pt idx="4">
                  <c:v>4.3984192909860284E-3</c:v>
                </c:pt>
                <c:pt idx="5">
                  <c:v>3.2898102305253057E-3</c:v>
                </c:pt>
                <c:pt idx="6">
                  <c:v>1.6727862574234226E-2</c:v>
                </c:pt>
                <c:pt idx="7">
                  <c:v>0.10708013175549105</c:v>
                </c:pt>
                <c:pt idx="8">
                  <c:v>4.3908502464912362E-3</c:v>
                </c:pt>
                <c:pt idx="9">
                  <c:v>3.43864982287338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9428990141866858E-3</c:v>
                </c:pt>
                <c:pt idx="5">
                  <c:v>7.6898970512948056E-2</c:v>
                </c:pt>
                <c:pt idx="6">
                  <c:v>2.11892358794313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4.8579754310961861E-3</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5579999999999998</c:v>
                </c:pt>
                <c:pt idx="6">
                  <c:v>4.42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59193053968587E-3</c:v>
                </c:pt>
                <c:pt idx="3">
                  <c:v>0.38033761780311476</c:v>
                </c:pt>
                <c:pt idx="4">
                  <c:v>0.10777100894814891</c:v>
                </c:pt>
                <c:pt idx="5">
                  <c:v>0.11243914818391409</c:v>
                </c:pt>
                <c:pt idx="6">
                  <c:v>5.7058141649218149E-3</c:v>
                </c:pt>
                <c:pt idx="7">
                  <c:v>0.18411949957147977</c:v>
                </c:pt>
                <c:pt idx="8">
                  <c:v>0.201206486826311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0.11243914818391409</c:v>
                </c:pt>
                <c:pt idx="6">
                  <c:v>5.194465693769866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63333938111166E-3</c:v>
                </c:pt>
                <c:pt idx="3">
                  <c:v>0.38014120646885274</c:v>
                </c:pt>
                <c:pt idx="4">
                  <c:v>0.10727673538200906</c:v>
                </c:pt>
                <c:pt idx="7">
                  <c:v>3.8481144262277729E-2</c:v>
                </c:pt>
                <c:pt idx="8">
                  <c:v>4.2120395654506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99033031154107E-5</c:v>
                </c:pt>
                <c:pt idx="7">
                  <c:v>4.125237138976846E-3</c:v>
                </c:pt>
                <c:pt idx="8">
                  <c:v>0.139579260361047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8.07709908747114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59115857424337E-6</c:v>
                </c:pt>
                <c:pt idx="3">
                  <c:v>1.9641133426203508E-4</c:v>
                </c:pt>
                <c:pt idx="4">
                  <c:v>4.9427356613984425E-4</c:v>
                </c:pt>
                <c:pt idx="6">
                  <c:v>4.4264943812079386E-4</c:v>
                </c:pt>
                <c:pt idx="7">
                  <c:v>6.0742127295513787E-2</c:v>
                </c:pt>
                <c:pt idx="8">
                  <c:v>1.950683081075742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184898586465801E-3</c:v>
                </c:pt>
                <c:pt idx="2">
                  <c:v>4.5386028934183628E-2</c:v>
                </c:pt>
                <c:pt idx="3">
                  <c:v>7.906538469993625E-3</c:v>
                </c:pt>
                <c:pt idx="4">
                  <c:v>5.4808674259608251E-3</c:v>
                </c:pt>
                <c:pt idx="5">
                  <c:v>1.5423245872612051E-2</c:v>
                </c:pt>
                <c:pt idx="6">
                  <c:v>6.9040943128880816E-2</c:v>
                </c:pt>
                <c:pt idx="7">
                  <c:v>0.15744516134834333</c:v>
                </c:pt>
                <c:pt idx="8">
                  <c:v>0.27390697414149728</c:v>
                </c:pt>
                <c:pt idx="9">
                  <c:v>0.1947065662490482</c:v>
                </c:pt>
                <c:pt idx="10">
                  <c:v>0.2253851845708335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2.168140222272406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8">
                  <c:v>0.25327228269884505</c:v>
                </c:pt>
                <c:pt idx="10">
                  <c:v>0.225385184570833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4353602383802611E-2</c:v>
                </c:pt>
                <c:pt idx="7">
                  <c:v>9.4257429897857015E-2</c:v>
                </c:pt>
                <c:pt idx="9">
                  <c:v>0.19470069567546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1718584187522608E-3</c:v>
                </c:pt>
                <c:pt idx="2">
                  <c:v>3.0877593294655829E-2</c:v>
                </c:pt>
                <c:pt idx="3">
                  <c:v>5.9527616177402235E-3</c:v>
                </c:pt>
                <c:pt idx="4">
                  <c:v>8.9944681709990665E-4</c:v>
                </c:pt>
                <c:pt idx="5">
                  <c:v>5.086539749029232E-3</c:v>
                </c:pt>
                <c:pt idx="6">
                  <c:v>4.4497698735153695E-3</c:v>
                </c:pt>
                <c:pt idx="7">
                  <c:v>3.8870691498610051E-4</c:v>
                </c:pt>
                <c:pt idx="8">
                  <c:v>4.492362758480105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466314398943197E-3</c:v>
                </c:pt>
                <c:pt idx="2">
                  <c:v>1.4508435639527797E-2</c:v>
                </c:pt>
                <c:pt idx="3">
                  <c:v>1.953776852253401E-3</c:v>
                </c:pt>
                <c:pt idx="4">
                  <c:v>4.5814206088609184E-3</c:v>
                </c:pt>
                <c:pt idx="5">
                  <c:v>1.0336706123582819E-2</c:v>
                </c:pt>
                <c:pt idx="6">
                  <c:v>2.3757087156284161E-4</c:v>
                </c:pt>
                <c:pt idx="7">
                  <c:v>4.1117622312776166E-2</c:v>
                </c:pt>
                <c:pt idx="8">
                  <c:v>1.6142328684172133E-2</c:v>
                </c:pt>
                <c:pt idx="9">
                  <c:v>5.87057358751501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740291286398303E-3</c:v>
                </c:pt>
                <c:pt idx="2">
                  <c:v>4.0083742340487213E-2</c:v>
                </c:pt>
                <c:pt idx="3">
                  <c:v>1.2276837033556913E-2</c:v>
                </c:pt>
                <c:pt idx="4">
                  <c:v>7.1895710672837589E-3</c:v>
                </c:pt>
                <c:pt idx="5">
                  <c:v>1.3904077409810173E-2</c:v>
                </c:pt>
                <c:pt idx="6">
                  <c:v>7.1829111646457874E-2</c:v>
                </c:pt>
                <c:pt idx="7">
                  <c:v>0.15564817221283697</c:v>
                </c:pt>
                <c:pt idx="8">
                  <c:v>0.27976076830036289</c:v>
                </c:pt>
                <c:pt idx="9">
                  <c:v>0.18838515478963205</c:v>
                </c:pt>
                <c:pt idx="10">
                  <c:v>0.225473440358260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2.168891632263417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5.747758374234049E-6</c:v>
                </c:pt>
                <c:pt idx="8">
                  <c:v>0.25335006847329544</c:v>
                </c:pt>
                <c:pt idx="10">
                  <c:v>0.225467567648617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4779436019952214E-4</c:v>
                </c:pt>
                <c:pt idx="6">
                  <c:v>6.4748123231939542E-2</c:v>
                </c:pt>
                <c:pt idx="7">
                  <c:v>9.3071702036205878E-2</c:v>
                </c:pt>
                <c:pt idx="8">
                  <c:v>6.3857595537740279E-3</c:v>
                </c:pt>
                <c:pt idx="9">
                  <c:v>0.188385154789632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2542308499685121E-3</c:v>
                </c:pt>
                <c:pt idx="2">
                  <c:v>2.5103459650736213E-2</c:v>
                </c:pt>
                <c:pt idx="3">
                  <c:v>1.0848644028828756E-2</c:v>
                </c:pt>
                <c:pt idx="4">
                  <c:v>2.0334569517888022E-3</c:v>
                </c:pt>
                <c:pt idx="5">
                  <c:v>3.9335908995491754E-3</c:v>
                </c:pt>
                <c:pt idx="6">
                  <c:v>5.0987614830216212E-3</c:v>
                </c:pt>
                <c:pt idx="7">
                  <c:v>5.2129669428922722E-4</c:v>
                </c:pt>
                <c:pt idx="8">
                  <c:v>4.493247633422964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197982786713182E-3</c:v>
                </c:pt>
                <c:pt idx="2">
                  <c:v>1.4980282689750997E-2</c:v>
                </c:pt>
                <c:pt idx="3">
                  <c:v>1.4281930047281561E-3</c:v>
                </c:pt>
                <c:pt idx="4">
                  <c:v>5.1561141154949572E-3</c:v>
                </c:pt>
                <c:pt idx="5">
                  <c:v>9.1226921500614754E-3</c:v>
                </c:pt>
                <c:pt idx="6">
                  <c:v>1.9764791731224822E-3</c:v>
                </c:pt>
                <c:pt idx="7">
                  <c:v>4.0366257159707715E-2</c:v>
                </c:pt>
                <c:pt idx="8">
                  <c:v>1.553169263987045E-2</c:v>
                </c:pt>
                <c:pt idx="10">
                  <c:v>5.8727096432391369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1.4577736111897558E-3</c:v>
                </c:pt>
                <c:pt idx="5">
                  <c:v>5.3312781217990525E-2</c:v>
                </c:pt>
                <c:pt idx="6">
                  <c:v>2.0197227782764022E-2</c:v>
                </c:pt>
                <c:pt idx="7">
                  <c:v>6.8916140118406716E-2</c:v>
                </c:pt>
                <c:pt idx="8">
                  <c:v>8.1101142779644225E-2</c:v>
                </c:pt>
                <c:pt idx="9">
                  <c:v>4.2563192625909067E-2</c:v>
                </c:pt>
                <c:pt idx="10">
                  <c:v>3.52987691556919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4.3738549137023561E-2</c:v>
                </c:pt>
                <c:pt idx="6">
                  <c:v>3.7347919865596067E-2</c:v>
                </c:pt>
                <c:pt idx="7">
                  <c:v>6.0479288511650291E-2</c:v>
                </c:pt>
                <c:pt idx="8">
                  <c:v>5.733223047500579E-2</c:v>
                </c:pt>
                <c:pt idx="9">
                  <c:v>7.0553877004225366E-3</c:v>
                </c:pt>
                <c:pt idx="10">
                  <c:v>1.07514214090835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3.8897799983816629E-2</c:v>
                </c:pt>
                <c:pt idx="2">
                  <c:v>8.0035460012229716E-3</c:v>
                </c:pt>
                <c:pt idx="4">
                  <c:v>1.0334975228180363E-2</c:v>
                </c:pt>
                <c:pt idx="5">
                  <c:v>0.10858968095207368</c:v>
                </c:pt>
                <c:pt idx="6">
                  <c:v>7.6978544746499839E-3</c:v>
                </c:pt>
                <c:pt idx="7">
                  <c:v>6.8069293493569161E-2</c:v>
                </c:pt>
                <c:pt idx="8">
                  <c:v>0.101373998654117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5.5999999999999999E-3</c:v>
                </c:pt>
                <c:pt idx="5">
                  <c:v>0.1958</c:v>
                </c:pt>
                <c:pt idx="7">
                  <c:v>0.32279999999999998</c:v>
                </c:pt>
                <c:pt idx="8">
                  <c:v>0.40649999999999997</c:v>
                </c:pt>
                <c:pt idx="9">
                  <c:v>6.5299999999999997E-2</c:v>
                </c:pt>
                <c:pt idx="10">
                  <c:v>4.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6</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791129630307E-2</c:v>
                </c:pt>
                <c:pt idx="2">
                  <c:v>7.6665533764454152E-3</c:v>
                </c:pt>
                <c:pt idx="3">
                  <c:v>5.7980360537331535E-2</c:v>
                </c:pt>
                <c:pt idx="4">
                  <c:v>2.3981649856609964E-2</c:v>
                </c:pt>
                <c:pt idx="5">
                  <c:v>2.1307871317483448E-2</c:v>
                </c:pt>
                <c:pt idx="6">
                  <c:v>0.18063637976569014</c:v>
                </c:pt>
                <c:pt idx="7">
                  <c:v>0.14441862498561556</c:v>
                </c:pt>
                <c:pt idx="8">
                  <c:v>0.30330474138544428</c:v>
                </c:pt>
                <c:pt idx="9">
                  <c:v>0.14396835371936478</c:v>
                </c:pt>
                <c:pt idx="10">
                  <c:v>0.104024747404548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2170493068351062E-4</c:v>
                </c:pt>
                <c:pt idx="5">
                  <c:v>1.8259420805160052E-2</c:v>
                </c:pt>
                <c:pt idx="7">
                  <c:v>3.0104786330746026E-2</c:v>
                </c:pt>
                <c:pt idx="8">
                  <c:v>3.7905927276970515E-2</c:v>
                </c:pt>
                <c:pt idx="9">
                  <c:v>6.0902577625187599E-3</c:v>
                </c:pt>
                <c:pt idx="10">
                  <c:v>3.763141921725446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6236515214996E-2</c:v>
                </c:pt>
                <c:pt idx="2">
                  <c:v>4.8659291569965292E-3</c:v>
                </c:pt>
                <c:pt idx="3">
                  <c:v>4.2150313744790897E-2</c:v>
                </c:pt>
                <c:pt idx="4">
                  <c:v>2.2483883208613668E-2</c:v>
                </c:pt>
                <c:pt idx="6">
                  <c:v>9.4450759548878216E-2</c:v>
                </c:pt>
                <c:pt idx="7">
                  <c:v>1.9735363679033759E-2</c:v>
                </c:pt>
                <c:pt idx="8">
                  <c:v>0.101162004964891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8625143428798E-3</c:v>
                </c:pt>
                <c:pt idx="7">
                  <c:v>6.4898548432347784E-4</c:v>
                </c:pt>
                <c:pt idx="8">
                  <c:v>2.0839816021349853E-2</c:v>
                </c:pt>
                <c:pt idx="9">
                  <c:v>6.5580332520045845E-2</c:v>
                </c:pt>
                <c:pt idx="10">
                  <c:v>9.99600666132081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7042768114235E-3</c:v>
                </c:pt>
                <c:pt idx="6">
                  <c:v>4.0807825481263575E-3</c:v>
                </c:pt>
                <c:pt idx="7">
                  <c:v>4.8292498814641191E-2</c:v>
                </c:pt>
                <c:pt idx="8">
                  <c:v>4.2743601112357879E-2</c:v>
                </c:pt>
                <c:pt idx="9">
                  <c:v>1.03757626469214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5461441531E-3</c:v>
                </c:pt>
                <c:pt idx="2">
                  <c:v>2.8006242194488864E-3</c:v>
                </c:pt>
                <c:pt idx="3">
                  <c:v>1.5830046792540634E-2</c:v>
                </c:pt>
                <c:pt idx="4">
                  <c:v>9.7606171731278574E-4</c:v>
                </c:pt>
                <c:pt idx="5">
                  <c:v>2.0197462355119739E-3</c:v>
                </c:pt>
                <c:pt idx="6">
                  <c:v>7.6784975154342697E-2</c:v>
                </c:pt>
                <c:pt idx="7">
                  <c:v>4.5636990676871103E-2</c:v>
                </c:pt>
                <c:pt idx="8">
                  <c:v>0.10065339200987455</c:v>
                </c:pt>
                <c:pt idx="9">
                  <c:v>6.1922000789878716E-2</c:v>
                </c:pt>
                <c:pt idx="10">
                  <c:v>3.688366599168033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0400000000000001E-2</c:v>
                </c:pt>
                <c:pt idx="6">
                  <c:v>0.1653</c:v>
                </c:pt>
                <c:pt idx="7">
                  <c:v>0.38679999999999998</c:v>
                </c:pt>
                <c:pt idx="8">
                  <c:v>0.33679999999999999</c:v>
                </c:pt>
                <c:pt idx="9">
                  <c:v>8.3599999999999994E-2</c:v>
                </c:pt>
                <c:pt idx="10">
                  <c:v>7.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5171908853375233E-6</c:v>
                </c:pt>
                <c:pt idx="5">
                  <c:v>2.0882278192255596E-3</c:v>
                </c:pt>
                <c:pt idx="6">
                  <c:v>1.6922679704348721E-2</c:v>
                </c:pt>
                <c:pt idx="7">
                  <c:v>3.958883722423117E-2</c:v>
                </c:pt>
                <c:pt idx="8">
                  <c:v>3.4473442719874167E-2</c:v>
                </c:pt>
                <c:pt idx="9">
                  <c:v>8.5525735974126566E-3</c:v>
                </c:pt>
                <c:pt idx="10">
                  <c:v>7.291619394932137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75493044893548E-3</c:v>
                </c:pt>
                <c:pt idx="5">
                  <c:v>3.4413092237990744E-2</c:v>
                </c:pt>
                <c:pt idx="6">
                  <c:v>5.1706236241185879E-2</c:v>
                </c:pt>
                <c:pt idx="7">
                  <c:v>7.811816948020163E-2</c:v>
                </c:pt>
                <c:pt idx="8">
                  <c:v>0.11094852818660828</c:v>
                </c:pt>
                <c:pt idx="9">
                  <c:v>8.2683194562064202E-2</c:v>
                </c:pt>
                <c:pt idx="10">
                  <c:v>4.61495751966667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8E-3</c:v>
                </c:pt>
                <c:pt idx="5">
                  <c:v>0.2198</c:v>
                </c:pt>
                <c:pt idx="6">
                  <c:v>3.0200000000000001E-2</c:v>
                </c:pt>
                <c:pt idx="7">
                  <c:v>0.15820000000000001</c:v>
                </c:pt>
                <c:pt idx="8">
                  <c:v>0.51890000000000003</c:v>
                </c:pt>
                <c:pt idx="9">
                  <c:v>7.000000000000000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45573354076379E-3</c:v>
                </c:pt>
                <c:pt idx="2">
                  <c:v>4.2526630974115357E-3</c:v>
                </c:pt>
                <c:pt idx="3">
                  <c:v>8.4956772137193354E-2</c:v>
                </c:pt>
                <c:pt idx="4">
                  <c:v>2.7681384037725146E-2</c:v>
                </c:pt>
                <c:pt idx="5">
                  <c:v>0.10955436823908271</c:v>
                </c:pt>
                <c:pt idx="6">
                  <c:v>0.12395847448481805</c:v>
                </c:pt>
                <c:pt idx="7">
                  <c:v>0.12103510134558404</c:v>
                </c:pt>
                <c:pt idx="8">
                  <c:v>0.3261976210034887</c:v>
                </c:pt>
                <c:pt idx="9">
                  <c:v>0.1012306356354709</c:v>
                </c:pt>
                <c:pt idx="10">
                  <c:v>9.506966599331052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7978047654774921E-4</c:v>
                </c:pt>
                <c:pt idx="5">
                  <c:v>2.9633952320199126E-2</c:v>
                </c:pt>
                <c:pt idx="6">
                  <c:v>4.0727793538384736E-3</c:v>
                </c:pt>
                <c:pt idx="7">
                  <c:v>2.1331009909460848E-2</c:v>
                </c:pt>
                <c:pt idx="8">
                  <c:v>6.9943960132259828E-2</c:v>
                </c:pt>
                <c:pt idx="9">
                  <c:v>9.4333848606281811E-3</c:v>
                </c:pt>
                <c:pt idx="10">
                  <c:v>4.0414580539205897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402438561385494E-3</c:v>
                </c:pt>
                <c:pt idx="2">
                  <c:v>3.422221187678045E-3</c:v>
                </c:pt>
                <c:pt idx="3">
                  <c:v>7.5569708603490882E-2</c:v>
                </c:pt>
                <c:pt idx="4">
                  <c:v>2.5943712515233672E-2</c:v>
                </c:pt>
                <c:pt idx="5">
                  <c:v>7.0632445827849347E-2</c:v>
                </c:pt>
                <c:pt idx="6">
                  <c:v>2.4282129212641976E-2</c:v>
                </c:pt>
                <c:pt idx="7">
                  <c:v>2.7379168467673794E-2</c:v>
                </c:pt>
                <c:pt idx="8">
                  <c:v>0.10171794221235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81046338930584E-2</c:v>
                </c:pt>
                <c:pt idx="9">
                  <c:v>3.3016963592719425E-2</c:v>
                </c:pt>
                <c:pt idx="10">
                  <c:v>8.99252396322319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2.9222850543733492E-5</c:v>
                </c:pt>
                <c:pt idx="6">
                  <c:v>4.6538943897839403E-4</c:v>
                </c:pt>
                <c:pt idx="7">
                  <c:v>5.8260804381500116E-2</c:v>
                </c:pt>
                <c:pt idx="8">
                  <c:v>3.4165864625067134E-2</c:v>
                </c:pt>
                <c:pt idx="9">
                  <c:v>1.7906884573276629E-2</c:v>
                </c:pt>
                <c:pt idx="10">
                  <c:v>4.20350497781336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34792690883213E-6</c:v>
                </c:pt>
                <c:pt idx="2">
                  <c:v>8.3044190973349027E-4</c:v>
                </c:pt>
                <c:pt idx="3">
                  <c:v>9.3870635337024774E-3</c:v>
                </c:pt>
                <c:pt idx="4">
                  <c:v>1.3578910459437225E-3</c:v>
                </c:pt>
                <c:pt idx="5">
                  <c:v>9.2587472404904985E-3</c:v>
                </c:pt>
                <c:pt idx="6">
                  <c:v>9.513817647935921E-2</c:v>
                </c:pt>
                <c:pt idx="7">
                  <c:v>1.4064118586949269E-2</c:v>
                </c:pt>
                <c:pt idx="8">
                  <c:v>0.10038880769487396</c:v>
                </c:pt>
                <c:pt idx="9">
                  <c:v>4.0873402608846664E-2</c:v>
                </c:pt>
                <c:pt idx="10">
                  <c:v>9.368799252112643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1174</c:v>
                </c:pt>
                <c:pt idx="8">
                  <c:v>0.8826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554911459525581E-3</c:v>
                </c:pt>
                <c:pt idx="1">
                  <c:v>1.6440133151909342E-2</c:v>
                </c:pt>
                <c:pt idx="2">
                  <c:v>1.8194910040100366E-2</c:v>
                </c:pt>
                <c:pt idx="3">
                  <c:v>4.115312531860766E-2</c:v>
                </c:pt>
                <c:pt idx="4">
                  <c:v>7.2076060566105438E-2</c:v>
                </c:pt>
                <c:pt idx="5">
                  <c:v>9.1525169197853376E-2</c:v>
                </c:pt>
                <c:pt idx="6">
                  <c:v>0.10792119445842582</c:v>
                </c:pt>
                <c:pt idx="7">
                  <c:v>0.18937629937870426</c:v>
                </c:pt>
                <c:pt idx="8">
                  <c:v>0.19596637827265739</c:v>
                </c:pt>
                <c:pt idx="9">
                  <c:v>4.9639033812769594E-2</c:v>
                </c:pt>
                <c:pt idx="10">
                  <c:v>0.211552204656914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5.3900186098649272E-2</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1.2318220897836638E-3</c:v>
                </c:pt>
                <c:pt idx="8">
                  <c:v>9.263767218961769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529328615607135E-4</c:v>
                </c:pt>
                <c:pt idx="1">
                  <c:v>6.8028725528951678E-3</c:v>
                </c:pt>
                <c:pt idx="2">
                  <c:v>1.4268551372453032E-4</c:v>
                </c:pt>
                <c:pt idx="3">
                  <c:v>1.3316080744153249E-2</c:v>
                </c:pt>
                <c:pt idx="4">
                  <c:v>5.2500899197691964E-2</c:v>
                </c:pt>
                <c:pt idx="5">
                  <c:v>2.0875347575433616E-3</c:v>
                </c:pt>
                <c:pt idx="6">
                  <c:v>3.6581147068202653E-2</c:v>
                </c:pt>
                <c:pt idx="7">
                  <c:v>8.9879652103433891E-2</c:v>
                </c:pt>
                <c:pt idx="8">
                  <c:v>0.14563710534493146</c:v>
                </c:pt>
                <c:pt idx="9">
                  <c:v>4.3221591443684829E-2</c:v>
                </c:pt>
                <c:pt idx="10">
                  <c:v>0.175338533627324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748353793302683E-5</c:v>
                </c:pt>
                <c:pt idx="1">
                  <c:v>2.5986550803650762E-3</c:v>
                </c:pt>
                <c:pt idx="3">
                  <c:v>2.5175844735524297E-3</c:v>
                </c:pt>
                <c:pt idx="4">
                  <c:v>9.7368014409372726E-3</c:v>
                </c:pt>
                <c:pt idx="5">
                  <c:v>4.3614516053857647E-2</c:v>
                </c:pt>
                <c:pt idx="6">
                  <c:v>1.3990883876762072E-2</c:v>
                </c:pt>
                <c:pt idx="7">
                  <c:v>1.4929633631864061E-2</c:v>
                </c:pt>
                <c:pt idx="8">
                  <c:v>1.5285128376209045E-2</c:v>
                </c:pt>
                <c:pt idx="9">
                  <c:v>2.6510626762903081E-3</c:v>
                </c:pt>
                <c:pt idx="10">
                  <c:v>2.45149293155247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35926641840844E-6</c:v>
                </c:pt>
                <c:pt idx="5">
                  <c:v>2.3061508894925323E-2</c:v>
                </c:pt>
                <c:pt idx="6">
                  <c:v>1.133299190722967E-2</c:v>
                </c:pt>
                <c:pt idx="7">
                  <c:v>3.592390211525501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121259133390002E-3</c:v>
                </c:pt>
                <c:pt idx="1">
                  <c:v>7.0386055186490966E-3</c:v>
                </c:pt>
                <c:pt idx="2">
                  <c:v>1.8052224526375834E-2</c:v>
                </c:pt>
                <c:pt idx="3">
                  <c:v>2.5319460100901983E-2</c:v>
                </c:pt>
                <c:pt idx="4">
                  <c:v>9.8383599274761979E-3</c:v>
                </c:pt>
                <c:pt idx="5">
                  <c:v>2.276160949152704E-2</c:v>
                </c:pt>
                <c:pt idx="6">
                  <c:v>4.6016171606231442E-2</c:v>
                </c:pt>
                <c:pt idx="7">
                  <c:v>4.7411289438367643E-2</c:v>
                </c:pt>
                <c:pt idx="8">
                  <c:v>2.5780377332555119E-2</c:v>
                </c:pt>
                <c:pt idx="9">
                  <c:v>3.766379692794454E-3</c:v>
                </c:pt>
                <c:pt idx="10">
                  <c:v>1.1698741714065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25740000000000002</c:v>
                </c:pt>
                <c:pt idx="8">
                  <c:v>0.7426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0086465517584642E-7</c:v>
                </c:pt>
                <c:pt idx="7">
                  <c:v>4.1558243033905503E-3</c:v>
                </c:pt>
                <c:pt idx="8">
                  <c:v>1.198829569456491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025063167172E-2</c:v>
                </c:pt>
                <c:pt idx="5">
                  <c:v>4.4271414349376689E-2</c:v>
                </c:pt>
                <c:pt idx="6">
                  <c:v>4.352768042290607E-2</c:v>
                </c:pt>
                <c:pt idx="7">
                  <c:v>5.3095347325471644E-2</c:v>
                </c:pt>
                <c:pt idx="8">
                  <c:v>2.5957285711255482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6499999999999999E-2</c:v>
                </c:pt>
                <c:pt idx="7">
                  <c:v>0.1363</c:v>
                </c:pt>
                <c:pt idx="8">
                  <c:v>0.837200000000000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7567371652506244E-3</c:v>
                </c:pt>
                <c:pt idx="1">
                  <c:v>6.500830736832529E-3</c:v>
                </c:pt>
                <c:pt idx="2">
                  <c:v>2.3755754151071784E-2</c:v>
                </c:pt>
                <c:pt idx="3">
                  <c:v>9.1838968342402058E-2</c:v>
                </c:pt>
                <c:pt idx="4">
                  <c:v>2.6424087871712295E-2</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3.696201288559587E-4</c:v>
                </c:pt>
                <c:pt idx="7">
                  <c:v>1.9024634580469674E-3</c:v>
                </c:pt>
                <c:pt idx="8">
                  <c:v>1.16871733372508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689401905276512E-3</c:v>
                </c:pt>
                <c:pt idx="3">
                  <c:v>8.436506674151753E-2</c:v>
                </c:pt>
                <c:pt idx="4">
                  <c:v>2.8157478820829891E-3</c:v>
                </c:pt>
                <c:pt idx="5">
                  <c:v>2.1694504995214011E-7</c:v>
                </c:pt>
                <c:pt idx="6">
                  <c:v>3.4223352811262542E-2</c:v>
                </c:pt>
                <c:pt idx="7">
                  <c:v>9.0605689969686626E-2</c:v>
                </c:pt>
                <c:pt idx="8">
                  <c:v>9.5972765875469268E-2</c:v>
                </c:pt>
                <c:pt idx="9">
                  <c:v>0.11927689466880319</c:v>
                </c:pt>
                <c:pt idx="10">
                  <c:v>9.300591576609462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5277714070256861E-4</c:v>
                </c:pt>
                <c:pt idx="1">
                  <c:v>2.6058716250084565E-3</c:v>
                </c:pt>
                <c:pt idx="2">
                  <c:v>7.0915721078522063E-4</c:v>
                </c:pt>
                <c:pt idx="3">
                  <c:v>5.2985031912436064E-3</c:v>
                </c:pt>
                <c:pt idx="4">
                  <c:v>1.7226684400237152E-2</c:v>
                </c:pt>
                <c:pt idx="5">
                  <c:v>7.2257580448738548E-2</c:v>
                </c:pt>
                <c:pt idx="6">
                  <c:v>1.5371442648063099E-2</c:v>
                </c:pt>
                <c:pt idx="7">
                  <c:v>3.339684640720738E-2</c:v>
                </c:pt>
                <c:pt idx="8">
                  <c:v>2.4546735803197287E-2</c:v>
                </c:pt>
                <c:pt idx="9">
                  <c:v>5.3865467240158497E-3</c:v>
                </c:pt>
                <c:pt idx="10">
                  <c:v>3.27033996337895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440457460456432E-3</c:v>
                </c:pt>
                <c:pt idx="5">
                  <c:v>3.4929093137511018E-2</c:v>
                </c:pt>
                <c:pt idx="6">
                  <c:v>1.8367851520493732E-2</c:v>
                </c:pt>
                <c:pt idx="7">
                  <c:v>4.03007791256051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039600245480559E-3</c:v>
                </c:pt>
                <c:pt idx="1">
                  <c:v>3.8949591118240729E-3</c:v>
                </c:pt>
                <c:pt idx="2">
                  <c:v>2.137765674975891E-2</c:v>
                </c:pt>
                <c:pt idx="3">
                  <c:v>2.1753984096409221E-3</c:v>
                </c:pt>
                <c:pt idx="4">
                  <c:v>4.7376098433465109E-3</c:v>
                </c:pt>
                <c:pt idx="5">
                  <c:v>1.0253943943496227E-2</c:v>
                </c:pt>
                <c:pt idx="6">
                  <c:v>4.9251208736463943E-2</c:v>
                </c:pt>
                <c:pt idx="7">
                  <c:v>3.3824589730696346E-2</c:v>
                </c:pt>
                <c:pt idx="8">
                  <c:v>1.5852952186431873E-2</c:v>
                </c:pt>
                <c:pt idx="9">
                  <c:v>2.8010498549487315E-3</c:v>
                </c:pt>
                <c:pt idx="10">
                  <c:v>1.043550887155200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9535160242343E-2</c:v>
                </c:pt>
                <c:pt idx="1">
                  <c:v>1.8004328980539077E-2</c:v>
                </c:pt>
                <c:pt idx="2">
                  <c:v>1.1101551809851031E-2</c:v>
                </c:pt>
                <c:pt idx="3">
                  <c:v>1.3979308573739149E-2</c:v>
                </c:pt>
                <c:pt idx="4">
                  <c:v>2.7268659971536421E-2</c:v>
                </c:pt>
                <c:pt idx="5">
                  <c:v>0.14782692723334404</c:v>
                </c:pt>
                <c:pt idx="6">
                  <c:v>0.13485627275324794</c:v>
                </c:pt>
                <c:pt idx="7">
                  <c:v>0.15504877286571603</c:v>
                </c:pt>
                <c:pt idx="8">
                  <c:v>0.26200827027857587</c:v>
                </c:pt>
                <c:pt idx="9">
                  <c:v>0.18504429883440607</c:v>
                </c:pt>
                <c:pt idx="10">
                  <c:v>2.0466257096620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39794035538919E-4</c:v>
                </c:pt>
                <c:pt idx="2">
                  <c:v>4.3909743414326333E-8</c:v>
                </c:pt>
                <c:pt idx="4">
                  <c:v>5.4395795462375898E-3</c:v>
                </c:pt>
                <c:pt idx="5">
                  <c:v>2.4895642330523413E-2</c:v>
                </c:pt>
                <c:pt idx="6">
                  <c:v>4.6209083883562665E-2</c:v>
                </c:pt>
                <c:pt idx="7">
                  <c:v>2.22282267482802E-3</c:v>
                </c:pt>
                <c:pt idx="8">
                  <c:v>0.15203549036761585</c:v>
                </c:pt>
                <c:pt idx="9">
                  <c:v>0.11962482042561559</c:v>
                </c:pt>
                <c:pt idx="10">
                  <c:v>1.34443460367047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724722063399369E-3</c:v>
                </c:pt>
                <c:pt idx="3">
                  <c:v>1.3378657060556869E-3</c:v>
                </c:pt>
                <c:pt idx="4">
                  <c:v>3.9875012198886698E-3</c:v>
                </c:pt>
                <c:pt idx="5">
                  <c:v>9.1956095404158666E-2</c:v>
                </c:pt>
                <c:pt idx="6">
                  <c:v>4.2744895608013367E-2</c:v>
                </c:pt>
                <c:pt idx="7">
                  <c:v>1.0769867741116922E-2</c:v>
                </c:pt>
                <c:pt idx="8">
                  <c:v>4.9896566715064098E-3</c:v>
                </c:pt>
                <c:pt idx="10">
                  <c:v>3.283773272877543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410420784605437E-3</c:v>
                </c:pt>
                <c:pt idx="6">
                  <c:v>1.2485722029173411E-2</c:v>
                </c:pt>
                <c:pt idx="7">
                  <c:v>7.1618693138423339E-2</c:v>
                </c:pt>
                <c:pt idx="8">
                  <c:v>3.96709062008066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9795366206804E-2</c:v>
                </c:pt>
                <c:pt idx="1">
                  <c:v>1.8004328980539077E-2</c:v>
                </c:pt>
                <c:pt idx="2">
                  <c:v>7.9290356937676814E-3</c:v>
                </c:pt>
                <c:pt idx="3">
                  <c:v>7.2004007892229188E-3</c:v>
                </c:pt>
                <c:pt idx="4">
                  <c:v>1.7841579205410161E-2</c:v>
                </c:pt>
                <c:pt idx="5">
                  <c:v>3.0975189498661959E-2</c:v>
                </c:pt>
                <c:pt idx="6">
                  <c:v>3.3416571232498499E-2</c:v>
                </c:pt>
                <c:pt idx="7">
                  <c:v>7.0437389311347728E-2</c:v>
                </c:pt>
                <c:pt idx="8">
                  <c:v>6.5312217038646994E-2</c:v>
                </c:pt>
                <c:pt idx="9">
                  <c:v>6.5419478408790477E-2</c:v>
                </c:pt>
                <c:pt idx="10">
                  <c:v>6.98907332718747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9E-2</c:v>
                </c:pt>
                <c:pt idx="4">
                  <c:v>5.7701549538145838E-2</c:v>
                </c:pt>
                <c:pt idx="5">
                  <c:v>0.14579996000114001</c:v>
                </c:pt>
                <c:pt idx="6">
                  <c:v>0.1286472547711171</c:v>
                </c:pt>
                <c:pt idx="7">
                  <c:v>0.1797236450590925</c:v>
                </c:pt>
                <c:pt idx="8">
                  <c:v>0.24907140238754868</c:v>
                </c:pt>
                <c:pt idx="9">
                  <c:v>0.15553268833943146</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731316775892473E-2</c:v>
                </c:pt>
                <c:pt idx="1">
                  <c:v>1.9129857743461352E-3</c:v>
                </c:pt>
                <c:pt idx="2">
                  <c:v>4.1464705082516432E-3</c:v>
                </c:pt>
                <c:pt idx="3">
                  <c:v>1.67907900063155E-2</c:v>
                </c:pt>
                <c:pt idx="4">
                  <c:v>7.3650110589429774E-2</c:v>
                </c:pt>
                <c:pt idx="5">
                  <c:v>0.15952220866396205</c:v>
                </c:pt>
                <c:pt idx="6">
                  <c:v>9.692054606282538E-2</c:v>
                </c:pt>
                <c:pt idx="7">
                  <c:v>0.2127471216943462</c:v>
                </c:pt>
                <c:pt idx="8">
                  <c:v>0.20163334178776571</c:v>
                </c:pt>
                <c:pt idx="9">
                  <c:v>0.14782979201706783</c:v>
                </c:pt>
                <c:pt idx="10">
                  <c:v>4.31153161197973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103747573246747E-5</c:v>
                </c:pt>
                <c:pt idx="1">
                  <c:v>5.0137316344989149E-5</c:v>
                </c:pt>
                <c:pt idx="2">
                  <c:v>2.1554419466856484E-3</c:v>
                </c:pt>
                <c:pt idx="3">
                  <c:v>5.4537419824124429E-3</c:v>
                </c:pt>
                <c:pt idx="4">
                  <c:v>2.4214862775212228E-2</c:v>
                </c:pt>
                <c:pt idx="5">
                  <c:v>8.7335162919249268E-2</c:v>
                </c:pt>
                <c:pt idx="6">
                  <c:v>2.6111339030140245E-3</c:v>
                </c:pt>
                <c:pt idx="7">
                  <c:v>5.6293394711733079E-2</c:v>
                </c:pt>
                <c:pt idx="8">
                  <c:v>2.9503339111178121E-3</c:v>
                </c:pt>
                <c:pt idx="9">
                  <c:v>1.1103747573246747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55420713203446E-7</c:v>
                </c:pt>
                <c:pt idx="4">
                  <c:v>2.5214711413600571E-2</c:v>
                </c:pt>
                <c:pt idx="5">
                  <c:v>6.6089213352081132E-3</c:v>
                </c:pt>
                <c:pt idx="6">
                  <c:v>4.6481748361028419E-2</c:v>
                </c:pt>
                <c:pt idx="7">
                  <c:v>9.4329014170329937E-3</c:v>
                </c:pt>
                <c:pt idx="8">
                  <c:v>7.6488603464135482E-2</c:v>
                </c:pt>
                <c:pt idx="9">
                  <c:v>7.4492826589462505E-2</c:v>
                </c:pt>
                <c:pt idx="10">
                  <c:v>4.3115316119797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410031203478706E-2</c:v>
                </c:pt>
                <c:pt idx="1">
                  <c:v>1.6038584159198909E-3</c:v>
                </c:pt>
                <c:pt idx="3">
                  <c:v>2.5580014968630939E-4</c:v>
                </c:pt>
                <c:pt idx="4">
                  <c:v>4.6996124597294348E-4</c:v>
                </c:pt>
                <c:pt idx="5">
                  <c:v>1.2751874877517872E-2</c:v>
                </c:pt>
                <c:pt idx="6">
                  <c:v>1.7330198375268488E-2</c:v>
                </c:pt>
                <c:pt idx="7">
                  <c:v>5.9306089801655901E-2</c:v>
                </c:pt>
                <c:pt idx="8">
                  <c:v>7.489063782653297E-3</c:v>
                </c:pt>
                <c:pt idx="9">
                  <c:v>7.11782605375538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310181824840522E-2</c:v>
                </c:pt>
                <c:pt idx="1">
                  <c:v>2.5899004208125527E-4</c:v>
                </c:pt>
                <c:pt idx="2">
                  <c:v>1.9907120073588626E-3</c:v>
                </c:pt>
                <c:pt idx="3">
                  <c:v>1.1081247874216747E-2</c:v>
                </c:pt>
                <c:pt idx="4">
                  <c:v>2.3750575154644037E-2</c:v>
                </c:pt>
                <c:pt idx="5">
                  <c:v>5.282624953198678E-2</c:v>
                </c:pt>
                <c:pt idx="6">
                  <c:v>3.0497465423514464E-2</c:v>
                </c:pt>
                <c:pt idx="7">
                  <c:v>8.7714735763924204E-2</c:v>
                </c:pt>
                <c:pt idx="8">
                  <c:v>0.11470534062985911</c:v>
                </c:pt>
                <c:pt idx="9">
                  <c:v>2.14760114247822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55264070481349E-2</c:v>
                </c:pt>
                <c:pt idx="1">
                  <c:v>2.3478993829360306E-2</c:v>
                </c:pt>
                <c:pt idx="2">
                  <c:v>4.2469415214930771E-2</c:v>
                </c:pt>
                <c:pt idx="3">
                  <c:v>2.0691145323150736E-2</c:v>
                </c:pt>
                <c:pt idx="4">
                  <c:v>5.0283691171922343E-2</c:v>
                </c:pt>
                <c:pt idx="5">
                  <c:v>7.2573653990922943E-2</c:v>
                </c:pt>
                <c:pt idx="6">
                  <c:v>0.14498752408549265</c:v>
                </c:pt>
                <c:pt idx="7">
                  <c:v>0.16484856603912199</c:v>
                </c:pt>
                <c:pt idx="8">
                  <c:v>0.37004087706994043</c:v>
                </c:pt>
                <c:pt idx="9">
                  <c:v>7.1528919243590547E-2</c:v>
                </c:pt>
                <c:pt idx="10">
                  <c:v>2.941949961085954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80148949507061E-4</c:v>
                </c:pt>
                <c:pt idx="1">
                  <c:v>1.1631023875368959E-3</c:v>
                </c:pt>
                <c:pt idx="2">
                  <c:v>1.8965262673961748E-2</c:v>
                </c:pt>
                <c:pt idx="3">
                  <c:v>2.6818242812760845E-4</c:v>
                </c:pt>
                <c:pt idx="4">
                  <c:v>9.574218484857945E-4</c:v>
                </c:pt>
                <c:pt idx="5">
                  <c:v>4.4826297226509097E-2</c:v>
                </c:pt>
                <c:pt idx="6">
                  <c:v>1.6767116486051704E-2</c:v>
                </c:pt>
                <c:pt idx="7">
                  <c:v>9.1577178768640258E-2</c:v>
                </c:pt>
                <c:pt idx="8">
                  <c:v>0.18763192770146261</c:v>
                </c:pt>
                <c:pt idx="9">
                  <c:v>6.9401366463258604E-2</c:v>
                </c:pt>
                <c:pt idx="10">
                  <c:v>2.545222163220531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70285952227305E-4</c:v>
                </c:pt>
                <c:pt idx="4">
                  <c:v>3.5588276616581954E-2</c:v>
                </c:pt>
                <c:pt idx="5">
                  <c:v>3.3379376507520308E-6</c:v>
                </c:pt>
                <c:pt idx="6">
                  <c:v>8.1091007901449769E-2</c:v>
                </c:pt>
                <c:pt idx="7">
                  <c:v>1.845596888942766E-2</c:v>
                </c:pt>
                <c:pt idx="8">
                  <c:v>0.106273368202363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56110292314673E-3</c:v>
                </c:pt>
                <c:pt idx="6">
                  <c:v>2.055668902215638E-2</c:v>
                </c:pt>
                <c:pt idx="7">
                  <c:v>5.3010324285858298E-3</c:v>
                </c:pt>
                <c:pt idx="8">
                  <c:v>5.19816980679922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48759721464007E-2</c:v>
                </c:pt>
                <c:pt idx="1">
                  <c:v>2.2315891441823412E-2</c:v>
                </c:pt>
                <c:pt idx="2">
                  <c:v>2.3504152540969023E-2</c:v>
                </c:pt>
                <c:pt idx="3">
                  <c:v>1.8027351865791661E-2</c:v>
                </c:pt>
                <c:pt idx="4">
                  <c:v>1.3737992706854591E-2</c:v>
                </c:pt>
                <c:pt idx="5">
                  <c:v>2.7744018826763098E-2</c:v>
                </c:pt>
                <c:pt idx="6">
                  <c:v>2.6572710675834769E-2</c:v>
                </c:pt>
                <c:pt idx="7">
                  <c:v>4.9514385952468216E-2</c:v>
                </c:pt>
                <c:pt idx="8">
                  <c:v>2.415388309812173E-2</c:v>
                </c:pt>
                <c:pt idx="9">
                  <c:v>2.1275527803319375E-3</c:v>
                </c:pt>
                <c:pt idx="10">
                  <c:v>3.967277978654236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59193053968587E-3</c:v>
                </c:pt>
                <c:pt idx="3">
                  <c:v>0.38033761780311476</c:v>
                </c:pt>
                <c:pt idx="4">
                  <c:v>0.10777100894814891</c:v>
                </c:pt>
                <c:pt idx="5">
                  <c:v>0.11243914818391409</c:v>
                </c:pt>
                <c:pt idx="6">
                  <c:v>5.7058141649218149E-3</c:v>
                </c:pt>
                <c:pt idx="7">
                  <c:v>0.18411949957147977</c:v>
                </c:pt>
                <c:pt idx="8">
                  <c:v>0.201206486826311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5</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302073575181155E-2</c:v>
                </c:pt>
                <c:pt idx="1">
                  <c:v>9.5448474519326774E-3</c:v>
                </c:pt>
                <c:pt idx="2">
                  <c:v>2.0414402762151417E-2</c:v>
                </c:pt>
                <c:pt idx="3">
                  <c:v>8.3198453783614595E-3</c:v>
                </c:pt>
                <c:pt idx="4">
                  <c:v>5.6069009084203557E-2</c:v>
                </c:pt>
                <c:pt idx="5">
                  <c:v>9.4112313969553191E-2</c:v>
                </c:pt>
                <c:pt idx="6">
                  <c:v>0.21823369141685761</c:v>
                </c:pt>
                <c:pt idx="7">
                  <c:v>0.15309383364501958</c:v>
                </c:pt>
                <c:pt idx="8">
                  <c:v>0.34216366229016659</c:v>
                </c:pt>
                <c:pt idx="9">
                  <c:v>8.37463204265727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821045711575339E-3</c:v>
                </c:pt>
                <c:pt idx="4">
                  <c:v>4.3075514490369296E-2</c:v>
                </c:pt>
                <c:pt idx="5">
                  <c:v>2.3866378714035527E-3</c:v>
                </c:pt>
                <c:pt idx="6">
                  <c:v>0.1318782180230253</c:v>
                </c:pt>
                <c:pt idx="7">
                  <c:v>1.8808886004624749E-2</c:v>
                </c:pt>
                <c:pt idx="8">
                  <c:v>0.1280691479431342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397235019096868E-3</c:v>
                </c:pt>
                <c:pt idx="2">
                  <c:v>1.8060220788077536E-2</c:v>
                </c:pt>
                <c:pt idx="4">
                  <c:v>8.2285408759834797E-3</c:v>
                </c:pt>
                <c:pt idx="5">
                  <c:v>8.2605410433750678E-2</c:v>
                </c:pt>
                <c:pt idx="6">
                  <c:v>2.9488183972865761E-2</c:v>
                </c:pt>
                <c:pt idx="7">
                  <c:v>7.7911193928028671E-2</c:v>
                </c:pt>
                <c:pt idx="8">
                  <c:v>0.12471069570028315</c:v>
                </c:pt>
                <c:pt idx="9">
                  <c:v>8.37463204265727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723209885868182E-2</c:v>
                </c:pt>
                <c:pt idx="7">
                  <c:v>4.262343039178944E-3</c:v>
                </c:pt>
                <c:pt idx="8">
                  <c:v>7.0120074535225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02073575181155E-2</c:v>
                </c:pt>
                <c:pt idx="1">
                  <c:v>7.0051239500229902E-3</c:v>
                </c:pt>
                <c:pt idx="2">
                  <c:v>2.3541819740738805E-3</c:v>
                </c:pt>
                <c:pt idx="3">
                  <c:v>5.1377408072039252E-3</c:v>
                </c:pt>
                <c:pt idx="4">
                  <c:v>4.7649537178507794E-3</c:v>
                </c:pt>
                <c:pt idx="5">
                  <c:v>9.1202656643989671E-3</c:v>
                </c:pt>
                <c:pt idx="6">
                  <c:v>3.4144079535098397E-2</c:v>
                </c:pt>
                <c:pt idx="7">
                  <c:v>5.2111410673187225E-2</c:v>
                </c:pt>
                <c:pt idx="8">
                  <c:v>1.92637441115233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598E-2</c:v>
                </c:pt>
                <c:pt idx="5">
                  <c:v>0.21572543411195483</c:v>
                </c:pt>
                <c:pt idx="6">
                  <c:v>0.35475670948466692</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63333938111166E-3</c:v>
                </c:pt>
                <c:pt idx="3">
                  <c:v>0.38014120646885274</c:v>
                </c:pt>
                <c:pt idx="4">
                  <c:v>0.10727673538200906</c:v>
                </c:pt>
                <c:pt idx="7">
                  <c:v>3.8481144262277729E-2</c:v>
                </c:pt>
                <c:pt idx="8">
                  <c:v>4.2120395654506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99033031154107E-5</c:v>
                </c:pt>
                <c:pt idx="7">
                  <c:v>4.125237138976846E-3</c:v>
                </c:pt>
                <c:pt idx="8">
                  <c:v>0.139579260361047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0.11243914818391409</c:v>
                </c:pt>
                <c:pt idx="6">
                  <c:v>5.194465693769866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59115857424337E-6</c:v>
                </c:pt>
                <c:pt idx="3">
                  <c:v>1.9641133426203508E-4</c:v>
                </c:pt>
                <c:pt idx="4">
                  <c:v>4.9427356613984425E-4</c:v>
                </c:pt>
                <c:pt idx="6">
                  <c:v>4.4264943812079386E-4</c:v>
                </c:pt>
                <c:pt idx="7">
                  <c:v>0.14151311817022522</c:v>
                </c:pt>
                <c:pt idx="8">
                  <c:v>1.950683081075742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316723015151536E-2</c:v>
                </c:pt>
                <c:pt idx="1">
                  <c:v>5.8300944817091241E-3</c:v>
                </c:pt>
                <c:pt idx="2">
                  <c:v>8.8947086516282838E-3</c:v>
                </c:pt>
                <c:pt idx="3">
                  <c:v>2.7998239806193429E-2</c:v>
                </c:pt>
                <c:pt idx="4">
                  <c:v>0.10843584406279787</c:v>
                </c:pt>
                <c:pt idx="5">
                  <c:v>6.6817643340029861E-2</c:v>
                </c:pt>
                <c:pt idx="6">
                  <c:v>0.21500199380686644</c:v>
                </c:pt>
                <c:pt idx="7">
                  <c:v>0.26504918493742546</c:v>
                </c:pt>
                <c:pt idx="8">
                  <c:v>0.15835274753479345</c:v>
                </c:pt>
                <c:pt idx="9">
                  <c:v>4.9964832384693902E-2</c:v>
                </c:pt>
                <c:pt idx="10">
                  <c:v>1.7337987978710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325241975488328E-2</c:v>
                </c:pt>
                <c:pt idx="3">
                  <c:v>7.8544178843273204E-3</c:v>
                </c:pt>
                <c:pt idx="4">
                  <c:v>4.021002413642601E-6</c:v>
                </c:pt>
                <c:pt idx="5">
                  <c:v>2.9255772409252888E-2</c:v>
                </c:pt>
                <c:pt idx="6">
                  <c:v>1.1554063221143895E-2</c:v>
                </c:pt>
                <c:pt idx="7">
                  <c:v>0.12426469957313828</c:v>
                </c:pt>
                <c:pt idx="8">
                  <c:v>0.13704075260814963</c:v>
                </c:pt>
                <c:pt idx="9">
                  <c:v>4.9143614445321927E-2</c:v>
                </c:pt>
                <c:pt idx="10">
                  <c:v>1.73379879787106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4258240478993E-2</c:v>
                </c:pt>
                <c:pt idx="6">
                  <c:v>8.97559542339557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8676388325579563E-3</c:v>
                </c:pt>
                <c:pt idx="7">
                  <c:v>4.11365420765052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4991481039663208E-2</c:v>
                </c:pt>
                <c:pt idx="1">
                  <c:v>5.8300944817091241E-3</c:v>
                </c:pt>
                <c:pt idx="2">
                  <c:v>8.8947086516282855E-3</c:v>
                </c:pt>
                <c:pt idx="3">
                  <c:v>2.0143821921866107E-2</c:v>
                </c:pt>
                <c:pt idx="4">
                  <c:v>6.3089240655594292E-2</c:v>
                </c:pt>
                <c:pt idx="5">
                  <c:v>3.2694232098219013E-2</c:v>
                </c:pt>
                <c:pt idx="6">
                  <c:v>0.11369197635176677</c:v>
                </c:pt>
                <c:pt idx="7">
                  <c:v>9.9647943287781954E-2</c:v>
                </c:pt>
                <c:pt idx="8">
                  <c:v>2.1311994926643811E-2</c:v>
                </c:pt>
                <c:pt idx="9">
                  <c:v>8.212179393719717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5987114333624997E-2</c:v>
                </c:pt>
                <c:pt idx="1">
                  <c:v>6.0732707532325939E-3</c:v>
                </c:pt>
                <c:pt idx="2">
                  <c:v>8.8722276757410151E-3</c:v>
                </c:pt>
                <c:pt idx="3">
                  <c:v>2.6528305498242234E-2</c:v>
                </c:pt>
                <c:pt idx="4">
                  <c:v>0.10924557874443218</c:v>
                </c:pt>
                <c:pt idx="5">
                  <c:v>6.8545123084831822E-2</c:v>
                </c:pt>
                <c:pt idx="6">
                  <c:v>0.21779239683916565</c:v>
                </c:pt>
                <c:pt idx="7">
                  <c:v>0.26116784386660485</c:v>
                </c:pt>
                <c:pt idx="8">
                  <c:v>0.15849901127415009</c:v>
                </c:pt>
                <c:pt idx="9">
                  <c:v>5.249614448092027E-2</c:v>
                </c:pt>
                <c:pt idx="10">
                  <c:v>1.4792983449054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3329241847568E-2</c:v>
                </c:pt>
                <c:pt idx="3">
                  <c:v>7.2872138615898722E-3</c:v>
                </c:pt>
                <c:pt idx="4">
                  <c:v>5.7310726737290886E-4</c:v>
                </c:pt>
                <c:pt idx="5">
                  <c:v>2.9263017236131936E-2</c:v>
                </c:pt>
                <c:pt idx="6">
                  <c:v>1.1557381920744281E-2</c:v>
                </c:pt>
                <c:pt idx="7">
                  <c:v>0.12438438730688962</c:v>
                </c:pt>
                <c:pt idx="8">
                  <c:v>0.1369880787296188</c:v>
                </c:pt>
                <c:pt idx="9">
                  <c:v>5.1735760166154061E-2</c:v>
                </c:pt>
                <c:pt idx="10">
                  <c:v>1.4762961663508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54406998810798E-2</c:v>
                </c:pt>
                <c:pt idx="6">
                  <c:v>8.977932371618711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5.9971748637932061E-5</c:v>
                </c:pt>
                <c:pt idx="5">
                  <c:v>4.8088364600939191E-3</c:v>
                </c:pt>
                <c:pt idx="6">
                  <c:v>6.8662265506422814E-4</c:v>
                </c:pt>
                <c:pt idx="7">
                  <c:v>4.04604250201417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4654190148868197E-2</c:v>
                </c:pt>
                <c:pt idx="1">
                  <c:v>6.0732707532325939E-3</c:v>
                </c:pt>
                <c:pt idx="2">
                  <c:v>8.8722276757410151E-3</c:v>
                </c:pt>
                <c:pt idx="3">
                  <c:v>1.9241091636652361E-2</c:v>
                </c:pt>
                <c:pt idx="4">
                  <c:v>6.3258092729610554E-2</c:v>
                </c:pt>
                <c:pt idx="5">
                  <c:v>3.4473269388605975E-2</c:v>
                </c:pt>
                <c:pt idx="6">
                  <c:v>0.11576906854717002</c:v>
                </c:pt>
                <c:pt idx="7">
                  <c:v>9.6323031539573542E-2</c:v>
                </c:pt>
                <c:pt idx="8">
                  <c:v>2.1510932544531267E-2</c:v>
                </c:pt>
                <c:pt idx="9">
                  <c:v>7.6038431476621159E-4</c:v>
                </c:pt>
                <c:pt idx="10">
                  <c:v>3.002178554569533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184898586465801E-3</c:v>
                </c:pt>
                <c:pt idx="2">
                  <c:v>4.5386028934183628E-2</c:v>
                </c:pt>
                <c:pt idx="3">
                  <c:v>7.906538469993625E-3</c:v>
                </c:pt>
                <c:pt idx="4">
                  <c:v>5.4808674259608251E-3</c:v>
                </c:pt>
                <c:pt idx="5">
                  <c:v>1.5423245872612051E-2</c:v>
                </c:pt>
                <c:pt idx="6">
                  <c:v>6.9040943128880816E-2</c:v>
                </c:pt>
                <c:pt idx="7">
                  <c:v>0.15744516134834333</c:v>
                </c:pt>
                <c:pt idx="8">
                  <c:v>0.27390697414149728</c:v>
                </c:pt>
                <c:pt idx="9">
                  <c:v>0.1947065662490482</c:v>
                </c:pt>
                <c:pt idx="10">
                  <c:v>0.2253851845708335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056035532144489E-3</c:v>
                </c:pt>
                <c:pt idx="3">
                  <c:v>6.0887819065110643E-4</c:v>
                </c:pt>
                <c:pt idx="4">
                  <c:v>8.8396267446032761E-4</c:v>
                </c:pt>
                <c:pt idx="5">
                  <c:v>2.3581416552697111E-3</c:v>
                </c:pt>
                <c:pt idx="6">
                  <c:v>2.6222408345056317E-4</c:v>
                </c:pt>
                <c:pt idx="7">
                  <c:v>5.7352723867027519E-3</c:v>
                </c:pt>
                <c:pt idx="8">
                  <c:v>6.141319047612245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921771340623941E-3</c:v>
                </c:pt>
                <c:pt idx="1">
                  <c:v>2.1420635230555356E-3</c:v>
                </c:pt>
                <c:pt idx="2">
                  <c:v>2.7072696665837374E-3</c:v>
                </c:pt>
                <c:pt idx="3">
                  <c:v>7.9412263527332237E-3</c:v>
                </c:pt>
                <c:pt idx="4">
                  <c:v>2.4591218049615334E-2</c:v>
                </c:pt>
                <c:pt idx="5">
                  <c:v>1.4845139184221803E-2</c:v>
                </c:pt>
                <c:pt idx="6">
                  <c:v>3.1595123419666069E-2</c:v>
                </c:pt>
                <c:pt idx="7">
                  <c:v>5.7402361241414859E-2</c:v>
                </c:pt>
                <c:pt idx="8">
                  <c:v>0.11442790950146151</c:v>
                </c:pt>
                <c:pt idx="9">
                  <c:v>7.4890550012087637E-2</c:v>
                </c:pt>
                <c:pt idx="10">
                  <c:v>7.092809486774834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106726651197564E-4</c:v>
                </c:pt>
                <c:pt idx="3">
                  <c:v>2.5752724158044463E-4</c:v>
                </c:pt>
                <c:pt idx="4">
                  <c:v>7.6755849657293186E-4</c:v>
                </c:pt>
                <c:pt idx="5">
                  <c:v>1.7700729967702365E-2</c:v>
                </c:pt>
                <c:pt idx="6">
                  <c:v>8.2280119803874781E-3</c:v>
                </c:pt>
                <c:pt idx="7">
                  <c:v>2.0731036897066631E-3</c:v>
                </c:pt>
                <c:pt idx="8">
                  <c:v>9.6046450195280144E-4</c:v>
                </c:pt>
                <c:pt idx="10">
                  <c:v>6.320971298628553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7868256623146334E-5</c:v>
                </c:pt>
                <c:pt idx="4">
                  <c:v>4.6582866759189469E-3</c:v>
                </c:pt>
                <c:pt idx="5">
                  <c:v>2.7605649081307319E-5</c:v>
                </c:pt>
                <c:pt idx="6">
                  <c:v>1.0789057334480693E-2</c:v>
                </c:pt>
                <c:pt idx="7">
                  <c:v>2.4157728932773675E-3</c:v>
                </c:pt>
                <c:pt idx="8">
                  <c:v>1.42954819018956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1571072605003E-2</c:v>
                </c:pt>
                <c:pt idx="1">
                  <c:v>1.7294007128007584E-2</c:v>
                </c:pt>
                <c:pt idx="2">
                  <c:v>1.4712433246061776E-2</c:v>
                </c:pt>
                <c:pt idx="3">
                  <c:v>3.7762176921605717E-2</c:v>
                </c:pt>
                <c:pt idx="4">
                  <c:v>4.3722694214266666E-2</c:v>
                </c:pt>
                <c:pt idx="5">
                  <c:v>6.1067326977963174E-2</c:v>
                </c:pt>
                <c:pt idx="6">
                  <c:v>7.5655087809971683E-2</c:v>
                </c:pt>
                <c:pt idx="7">
                  <c:v>0.11063381897362756</c:v>
                </c:pt>
                <c:pt idx="8">
                  <c:v>9.4469793718872666E-2</c:v>
                </c:pt>
                <c:pt idx="9">
                  <c:v>2.8359049434391367E-2</c:v>
                </c:pt>
                <c:pt idx="10">
                  <c:v>1.24746117540869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8">
                  <c:v>0.25327228269884505</c:v>
                </c:pt>
                <c:pt idx="10">
                  <c:v>0.225385184570833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4353602383802611E-2</c:v>
                </c:pt>
                <c:pt idx="7">
                  <c:v>9.4257429897857015E-2</c:v>
                </c:pt>
                <c:pt idx="9">
                  <c:v>0.19470069567546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1718584187522608E-3</c:v>
                </c:pt>
                <c:pt idx="2">
                  <c:v>3.0877593294655829E-2</c:v>
                </c:pt>
                <c:pt idx="3">
                  <c:v>5.9527616177402235E-3</c:v>
                </c:pt>
                <c:pt idx="4">
                  <c:v>8.9944681709990665E-4</c:v>
                </c:pt>
                <c:pt idx="5">
                  <c:v>5.086539749029232E-3</c:v>
                </c:pt>
                <c:pt idx="6">
                  <c:v>4.4497698735153695E-3</c:v>
                </c:pt>
                <c:pt idx="7">
                  <c:v>3.8870691498610051E-4</c:v>
                </c:pt>
                <c:pt idx="8">
                  <c:v>4.492362758480105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466314398943197E-3</c:v>
                </c:pt>
                <c:pt idx="2">
                  <c:v>1.4508435639527797E-2</c:v>
                </c:pt>
                <c:pt idx="3">
                  <c:v>1.953776852253401E-3</c:v>
                </c:pt>
                <c:pt idx="4">
                  <c:v>4.5814206088609184E-3</c:v>
                </c:pt>
                <c:pt idx="5">
                  <c:v>1.0336706123582819E-2</c:v>
                </c:pt>
                <c:pt idx="6">
                  <c:v>2.3757087156284161E-4</c:v>
                </c:pt>
                <c:pt idx="7">
                  <c:v>6.2799024535500236E-2</c:v>
                </c:pt>
                <c:pt idx="8">
                  <c:v>1.6142328684172133E-2</c:v>
                </c:pt>
                <c:pt idx="9">
                  <c:v>5.87057358751501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740291286398303E-3</c:v>
                </c:pt>
                <c:pt idx="2">
                  <c:v>4.0083742340487213E-2</c:v>
                </c:pt>
                <c:pt idx="3">
                  <c:v>1.2276837033556913E-2</c:v>
                </c:pt>
                <c:pt idx="4">
                  <c:v>7.1895710672837589E-3</c:v>
                </c:pt>
                <c:pt idx="5">
                  <c:v>1.3904077409810173E-2</c:v>
                </c:pt>
                <c:pt idx="6">
                  <c:v>7.1829111646457874E-2</c:v>
                </c:pt>
                <c:pt idx="7">
                  <c:v>0.15564817221283697</c:v>
                </c:pt>
                <c:pt idx="8">
                  <c:v>0.27976076830036289</c:v>
                </c:pt>
                <c:pt idx="9">
                  <c:v>0.18838515478963205</c:v>
                </c:pt>
                <c:pt idx="10">
                  <c:v>0.225473440358260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5.747758374234049E-6</c:v>
                </c:pt>
                <c:pt idx="8">
                  <c:v>0.25335006847329544</c:v>
                </c:pt>
                <c:pt idx="10">
                  <c:v>0.225467567648617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4779436019952214E-4</c:v>
                </c:pt>
                <c:pt idx="6">
                  <c:v>6.4748123231939542E-2</c:v>
                </c:pt>
                <c:pt idx="7">
                  <c:v>9.3071702036205878E-2</c:v>
                </c:pt>
                <c:pt idx="8">
                  <c:v>6.3857595537740279E-3</c:v>
                </c:pt>
                <c:pt idx="9">
                  <c:v>0.188385154789632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2542308499685121E-3</c:v>
                </c:pt>
                <c:pt idx="2">
                  <c:v>2.5103459650736213E-2</c:v>
                </c:pt>
                <c:pt idx="3">
                  <c:v>1.0848644028828756E-2</c:v>
                </c:pt>
                <c:pt idx="4">
                  <c:v>2.0334569517888022E-3</c:v>
                </c:pt>
                <c:pt idx="5">
                  <c:v>3.9335908995491754E-3</c:v>
                </c:pt>
                <c:pt idx="6">
                  <c:v>5.0987614830216212E-3</c:v>
                </c:pt>
                <c:pt idx="7">
                  <c:v>5.2129669428922722E-4</c:v>
                </c:pt>
                <c:pt idx="8">
                  <c:v>4.493247633422964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197982786713182E-3</c:v>
                </c:pt>
                <c:pt idx="2">
                  <c:v>1.4980282689750997E-2</c:v>
                </c:pt>
                <c:pt idx="3">
                  <c:v>1.4281930047281561E-3</c:v>
                </c:pt>
                <c:pt idx="4">
                  <c:v>5.1561141154949572E-3</c:v>
                </c:pt>
                <c:pt idx="5">
                  <c:v>9.1226921500614754E-3</c:v>
                </c:pt>
                <c:pt idx="6">
                  <c:v>1.9764791731224822E-3</c:v>
                </c:pt>
                <c:pt idx="7">
                  <c:v>6.2055173482341887E-2</c:v>
                </c:pt>
                <c:pt idx="8">
                  <c:v>1.553169263987045E-2</c:v>
                </c:pt>
                <c:pt idx="10">
                  <c:v>5.8727096432391369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769999999999999</c:v>
                </c:pt>
                <c:pt idx="3">
                  <c:v>3.3399999999999999E-2</c:v>
                </c:pt>
                <c:pt idx="4">
                  <c:v>4.8500000000000001E-2</c:v>
                </c:pt>
                <c:pt idx="5">
                  <c:v>0.12939999999999999</c:v>
                </c:pt>
                <c:pt idx="7">
                  <c:v>0.314</c:v>
                </c:pt>
                <c:pt idx="8">
                  <c:v>0.3070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4488502073914959E-3</c:v>
                </c:pt>
                <c:pt idx="5">
                  <c:v>8.9437949423969865E-3</c:v>
                </c:pt>
                <c:pt idx="6">
                  <c:v>5.4633029429465921E-3</c:v>
                </c:pt>
                <c:pt idx="7">
                  <c:v>5.6927277372029003E-2</c:v>
                </c:pt>
                <c:pt idx="8">
                  <c:v>4.2365689413246761E-2</c:v>
                </c:pt>
                <c:pt idx="9">
                  <c:v>4.2318673864966551E-2</c:v>
                </c:pt>
                <c:pt idx="10">
                  <c:v>3.529876915569195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8.9234037982599497E-6</c:v>
                </c:pt>
                <c:pt idx="5">
                  <c:v>4.4368986275593533E-2</c:v>
                </c:pt>
                <c:pt idx="6">
                  <c:v>1.4733924839817428E-2</c:v>
                </c:pt>
                <c:pt idx="7">
                  <c:v>1.1988862746377713E-2</c:v>
                </c:pt>
                <c:pt idx="8">
                  <c:v>3.8735453366397464E-2</c:v>
                </c:pt>
                <c:pt idx="9">
                  <c:v>2.445187609425152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16</c:v>
                </c:pt>
                <c:pt idx="3">
                  <c:v>0.13950000000000001</c:v>
                </c:pt>
                <c:pt idx="4">
                  <c:v>7.4099999999999999E-2</c:v>
                </c:pt>
                <c:pt idx="5">
                  <c:v>9.11E-2</c:v>
                </c:pt>
                <c:pt idx="6">
                  <c:v>7.6200000000000004E-2</c:v>
                </c:pt>
                <c:pt idx="7">
                  <c:v>0.22750000000000001</c:v>
                </c:pt>
                <c:pt idx="8">
                  <c:v>0.27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8649087315539978E-2</c:v>
                </c:pt>
                <c:pt idx="6">
                  <c:v>8.1119053578512148E-3</c:v>
                </c:pt>
                <c:pt idx="7">
                  <c:v>2.9251355723044502E-2</c:v>
                </c:pt>
                <c:pt idx="8">
                  <c:v>2.9765183058121165E-2</c:v>
                </c:pt>
                <c:pt idx="9">
                  <c:v>7.0543952767912928E-3</c:v>
                </c:pt>
                <c:pt idx="10">
                  <c:v>1.07514214090835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2.5089461821483583E-2</c:v>
                </c:pt>
                <c:pt idx="6">
                  <c:v>2.9236014507744851E-2</c:v>
                </c:pt>
                <c:pt idx="7">
                  <c:v>3.1227932788605785E-2</c:v>
                </c:pt>
                <c:pt idx="8">
                  <c:v>2.7567047416884625E-2</c:v>
                </c:pt>
                <c:pt idx="9">
                  <c:v>9.9242363124415881E-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152</c:v>
                </c:pt>
                <c:pt idx="3">
                  <c:v>0.1321</c:v>
                </c:pt>
                <c:pt idx="4">
                  <c:v>7.0199999999999999E-2</c:v>
                </c:pt>
                <c:pt idx="5">
                  <c:v>8.6300000000000002E-2</c:v>
                </c:pt>
                <c:pt idx="6">
                  <c:v>9.5299999999999996E-2</c:v>
                </c:pt>
                <c:pt idx="7">
                  <c:v>0.22919999999999999</c:v>
                </c:pt>
                <c:pt idx="8">
                  <c:v>0.271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61</c:v>
                </c:pt>
                <c:pt idx="2">
                  <c:v>3.4200000000000001E-2</c:v>
                </c:pt>
                <c:pt idx="4">
                  <c:v>3.2000000000000002E-3</c:v>
                </c:pt>
                <c:pt idx="5">
                  <c:v>0.22309999999999999</c:v>
                </c:pt>
                <c:pt idx="6">
                  <c:v>3.27E-2</c:v>
                </c:pt>
                <c:pt idx="7">
                  <c:v>0.2772</c:v>
                </c:pt>
                <c:pt idx="8">
                  <c:v>0.263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4">
                  <c:v>9.5884917818195217E-3</c:v>
                </c:pt>
                <c:pt idx="5">
                  <c:v>5.6348233298610793E-2</c:v>
                </c:pt>
                <c:pt idx="6">
                  <c:v>4.6860068154512241E-5</c:v>
                </c:pt>
                <c:pt idx="7">
                  <c:v>3.1574467562078068E-3</c:v>
                </c:pt>
                <c:pt idx="8">
                  <c:v>3.9659442534192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32029999999999997</c:v>
                </c:pt>
                <c:pt idx="7">
                  <c:v>1.4999999999999999E-2</c:v>
                </c:pt>
                <c:pt idx="8">
                  <c:v>0.664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791129630307E-2</c:v>
                </c:pt>
                <c:pt idx="2">
                  <c:v>7.6665533764454152E-3</c:v>
                </c:pt>
                <c:pt idx="3">
                  <c:v>5.7980360537331535E-2</c:v>
                </c:pt>
                <c:pt idx="4">
                  <c:v>2.3981649856609964E-2</c:v>
                </c:pt>
                <c:pt idx="5">
                  <c:v>2.1307871317483448E-2</c:v>
                </c:pt>
                <c:pt idx="6">
                  <c:v>0.18063637976569014</c:v>
                </c:pt>
                <c:pt idx="7">
                  <c:v>0.14441862498561556</c:v>
                </c:pt>
                <c:pt idx="8">
                  <c:v>0.30330474138544428</c:v>
                </c:pt>
                <c:pt idx="9">
                  <c:v>0.14396835371936478</c:v>
                </c:pt>
                <c:pt idx="10">
                  <c:v>0.104024747404548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3066195746928655E-3</c:v>
                </c:pt>
                <c:pt idx="7">
                  <c:v>1.0804313135361719E-4</c:v>
                </c:pt>
                <c:pt idx="8">
                  <c:v>4.786084127078703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6236515214996E-2</c:v>
                </c:pt>
                <c:pt idx="2">
                  <c:v>4.8659291569965292E-3</c:v>
                </c:pt>
                <c:pt idx="3">
                  <c:v>4.2150313744790897E-2</c:v>
                </c:pt>
                <c:pt idx="4">
                  <c:v>2.2483883208613668E-2</c:v>
                </c:pt>
                <c:pt idx="6">
                  <c:v>9.4450759548878216E-2</c:v>
                </c:pt>
                <c:pt idx="7">
                  <c:v>1.9735363679033759E-2</c:v>
                </c:pt>
                <c:pt idx="8">
                  <c:v>0.101162004964891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8625143428798E-3</c:v>
                </c:pt>
                <c:pt idx="7">
                  <c:v>6.4898548432347784E-4</c:v>
                </c:pt>
                <c:pt idx="8">
                  <c:v>2.0839816021349853E-2</c:v>
                </c:pt>
                <c:pt idx="9">
                  <c:v>6.5580332520045845E-2</c:v>
                </c:pt>
                <c:pt idx="10">
                  <c:v>9.99600666132081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7042768114235E-3</c:v>
                </c:pt>
                <c:pt idx="6">
                  <c:v>4.0807825481263575E-3</c:v>
                </c:pt>
                <c:pt idx="7">
                  <c:v>4.8292498814641191E-2</c:v>
                </c:pt>
                <c:pt idx="8">
                  <c:v>4.2743601112357879E-2</c:v>
                </c:pt>
                <c:pt idx="9">
                  <c:v>1.03757626469214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5461441531E-3</c:v>
                </c:pt>
                <c:pt idx="2">
                  <c:v>2.8006242194488864E-3</c:v>
                </c:pt>
                <c:pt idx="3">
                  <c:v>1.5830046792540634E-2</c:v>
                </c:pt>
                <c:pt idx="4">
                  <c:v>1.4977666479962964E-3</c:v>
                </c:pt>
                <c:pt idx="5">
                  <c:v>2.0279167040672025E-2</c:v>
                </c:pt>
                <c:pt idx="6">
                  <c:v>7.4478355579649824E-2</c:v>
                </c:pt>
                <c:pt idx="7">
                  <c:v>7.5633733876263515E-2</c:v>
                </c:pt>
                <c:pt idx="8">
                  <c:v>0.13377323515976636</c:v>
                </c:pt>
                <c:pt idx="9">
                  <c:v>6.8012258552397481E-2</c:v>
                </c:pt>
                <c:pt idx="10">
                  <c:v>4.064680791340578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44019999999999998</c:v>
                </c:pt>
                <c:pt idx="7">
                  <c:v>0.2596</c:v>
                </c:pt>
                <c:pt idx="8">
                  <c:v>0.3002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4.5544047456652003E-3</c:v>
                </c:pt>
                <c:pt idx="7">
                  <c:v>2.6853604363414013E-3</c:v>
                </c:pt>
                <c:pt idx="8">
                  <c:v>3.10633033399305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90664953746922E-3</c:v>
                </c:pt>
                <c:pt idx="5">
                  <c:v>3.6501320057216305E-2</c:v>
                </c:pt>
                <c:pt idx="6">
                  <c:v>6.4074511199869399E-2</c:v>
                </c:pt>
                <c:pt idx="7">
                  <c:v>0.1150216462680914</c:v>
                </c:pt>
                <c:pt idx="8">
                  <c:v>0.14231564057248938</c:v>
                </c:pt>
                <c:pt idx="9">
                  <c:v>9.1235768159476857E-2</c:v>
                </c:pt>
                <c:pt idx="10">
                  <c:v>5.34411945915988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3.5999999999999999E-3</c:v>
                </c:pt>
                <c:pt idx="7">
                  <c:v>9.4600000000000004E-2</c:v>
                </c:pt>
                <c:pt idx="8">
                  <c:v>0.9018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91E-2</c:v>
                </c:pt>
                <c:pt idx="1">
                  <c:v>2.5712148835382802E-2</c:v>
                </c:pt>
                <c:pt idx="2">
                  <c:v>3.3589224880169168E-2</c:v>
                </c:pt>
                <c:pt idx="3">
                  <c:v>4.7555465818613675E-2</c:v>
                </c:pt>
                <c:pt idx="4">
                  <c:v>7.2169314610381535E-2</c:v>
                </c:pt>
                <c:pt idx="5">
                  <c:v>0.11538975237199361</c:v>
                </c:pt>
                <c:pt idx="6">
                  <c:v>0.13910064653920554</c:v>
                </c:pt>
                <c:pt idx="7">
                  <c:v>0.18415888055193394</c:v>
                </c:pt>
                <c:pt idx="8">
                  <c:v>0.19567579739573701</c:v>
                </c:pt>
                <c:pt idx="9">
                  <c:v>0.13733259935179568</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45573354076379E-3</c:v>
                </c:pt>
                <c:pt idx="2">
                  <c:v>4.2526630974115357E-3</c:v>
                </c:pt>
                <c:pt idx="3">
                  <c:v>8.4956772137193354E-2</c:v>
                </c:pt>
                <c:pt idx="4">
                  <c:v>2.7681384037725146E-2</c:v>
                </c:pt>
                <c:pt idx="5">
                  <c:v>0.10955436823908271</c:v>
                </c:pt>
                <c:pt idx="6">
                  <c:v>0.12395847448481805</c:v>
                </c:pt>
                <c:pt idx="7">
                  <c:v>0.12103510134558404</c:v>
                </c:pt>
                <c:pt idx="8">
                  <c:v>0.3261976210034887</c:v>
                </c:pt>
                <c:pt idx="9">
                  <c:v>0.1012306356354709</c:v>
                </c:pt>
                <c:pt idx="10">
                  <c:v>9.506966599331052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4171027976332754E-5</c:v>
                </c:pt>
                <c:pt idx="7">
                  <c:v>6.401824998104595E-4</c:v>
                </c:pt>
                <c:pt idx="8">
                  <c:v>6.101435856212228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402438561385494E-3</c:v>
                </c:pt>
                <c:pt idx="2">
                  <c:v>3.422221187678045E-3</c:v>
                </c:pt>
                <c:pt idx="3">
                  <c:v>7.5569708603490882E-2</c:v>
                </c:pt>
                <c:pt idx="4">
                  <c:v>2.5943712515233672E-2</c:v>
                </c:pt>
                <c:pt idx="5">
                  <c:v>7.0632445827849347E-2</c:v>
                </c:pt>
                <c:pt idx="6">
                  <c:v>2.4282129212641976E-2</c:v>
                </c:pt>
                <c:pt idx="7">
                  <c:v>2.7379168467673794E-2</c:v>
                </c:pt>
                <c:pt idx="8">
                  <c:v>0.10171794221235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81046338930584E-2</c:v>
                </c:pt>
                <c:pt idx="9">
                  <c:v>3.3016963592719425E-2</c:v>
                </c:pt>
                <c:pt idx="10">
                  <c:v>8.99252396322319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3.7978047654774921E-4</c:v>
                </c:pt>
                <c:pt idx="5">
                  <c:v>2.9633952320199126E-2</c:v>
                </c:pt>
                <c:pt idx="6">
                  <c:v>4.0727793538384736E-3</c:v>
                </c:pt>
                <c:pt idx="7">
                  <c:v>2.1331009909460848E-2</c:v>
                </c:pt>
                <c:pt idx="8">
                  <c:v>6.9943960132259828E-2</c:v>
                </c:pt>
                <c:pt idx="9">
                  <c:v>9.4333848606281811E-3</c:v>
                </c:pt>
                <c:pt idx="10">
                  <c:v>4.0414580539205897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34792690883213E-6</c:v>
                </c:pt>
                <c:pt idx="2">
                  <c:v>8.3044190973349027E-4</c:v>
                </c:pt>
                <c:pt idx="3">
                  <c:v>9.3870635337024774E-3</c:v>
                </c:pt>
                <c:pt idx="4">
                  <c:v>1.3578910459437225E-3</c:v>
                </c:pt>
                <c:pt idx="5">
                  <c:v>9.2879700910342318E-3</c:v>
                </c:pt>
                <c:pt idx="6">
                  <c:v>9.5579394890361269E-2</c:v>
                </c:pt>
                <c:pt idx="7">
                  <c:v>7.168474046863893E-2</c:v>
                </c:pt>
                <c:pt idx="8">
                  <c:v>0.12845323646372886</c:v>
                </c:pt>
                <c:pt idx="9">
                  <c:v>5.8780287182123296E-2</c:v>
                </c:pt>
                <c:pt idx="10">
                  <c:v>5.14038490302463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554911459525581E-3</c:v>
                </c:pt>
                <c:pt idx="1">
                  <c:v>1.6440133151909342E-2</c:v>
                </c:pt>
                <c:pt idx="2">
                  <c:v>1.8194910040100366E-2</c:v>
                </c:pt>
                <c:pt idx="3">
                  <c:v>4.115312531860766E-2</c:v>
                </c:pt>
                <c:pt idx="4">
                  <c:v>7.2076060566105438E-2</c:v>
                </c:pt>
                <c:pt idx="5">
                  <c:v>9.1525169197853376E-2</c:v>
                </c:pt>
                <c:pt idx="6">
                  <c:v>0.10792119445842582</c:v>
                </c:pt>
                <c:pt idx="7">
                  <c:v>0.18937629937870426</c:v>
                </c:pt>
                <c:pt idx="8">
                  <c:v>0.19596637827265739</c:v>
                </c:pt>
                <c:pt idx="9">
                  <c:v>4.9639033812769594E-2</c:v>
                </c:pt>
                <c:pt idx="10">
                  <c:v>0.211552204656914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529328615607135E-4</c:v>
                </c:pt>
                <c:pt idx="1">
                  <c:v>6.8028725528951678E-3</c:v>
                </c:pt>
                <c:pt idx="2">
                  <c:v>1.4268551372453032E-4</c:v>
                </c:pt>
                <c:pt idx="3">
                  <c:v>1.3316080744153249E-2</c:v>
                </c:pt>
                <c:pt idx="4">
                  <c:v>5.2500899197691964E-2</c:v>
                </c:pt>
                <c:pt idx="5">
                  <c:v>2.0875347575433616E-3</c:v>
                </c:pt>
                <c:pt idx="6">
                  <c:v>3.6581147068202653E-2</c:v>
                </c:pt>
                <c:pt idx="7">
                  <c:v>8.9879652103433891E-2</c:v>
                </c:pt>
                <c:pt idx="8">
                  <c:v>0.14563710534493146</c:v>
                </c:pt>
                <c:pt idx="9">
                  <c:v>4.3221591443684829E-2</c:v>
                </c:pt>
                <c:pt idx="10">
                  <c:v>0.175338533627324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748353793302683E-5</c:v>
                </c:pt>
                <c:pt idx="1">
                  <c:v>2.5986550803650762E-3</c:v>
                </c:pt>
                <c:pt idx="3">
                  <c:v>2.5175844735524297E-3</c:v>
                </c:pt>
                <c:pt idx="4">
                  <c:v>9.7368014409372726E-3</c:v>
                </c:pt>
                <c:pt idx="5">
                  <c:v>4.3614516053857647E-2</c:v>
                </c:pt>
                <c:pt idx="6">
                  <c:v>1.3990883876762072E-2</c:v>
                </c:pt>
                <c:pt idx="7">
                  <c:v>1.4929633631864061E-2</c:v>
                </c:pt>
                <c:pt idx="8">
                  <c:v>1.5285128376209045E-2</c:v>
                </c:pt>
                <c:pt idx="9">
                  <c:v>2.6510626762903081E-3</c:v>
                </c:pt>
                <c:pt idx="10">
                  <c:v>2.45149293155247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35926641840844E-6</c:v>
                </c:pt>
                <c:pt idx="5">
                  <c:v>2.3061508894925323E-2</c:v>
                </c:pt>
                <c:pt idx="6">
                  <c:v>1.133299190722967E-2</c:v>
                </c:pt>
                <c:pt idx="7">
                  <c:v>3.592390211525501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121259133390002E-3</c:v>
                </c:pt>
                <c:pt idx="1">
                  <c:v>7.0386055186490966E-3</c:v>
                </c:pt>
                <c:pt idx="2">
                  <c:v>1.8052224526375834E-2</c:v>
                </c:pt>
                <c:pt idx="3">
                  <c:v>2.5319460100901983E-2</c:v>
                </c:pt>
                <c:pt idx="4">
                  <c:v>9.8383599274761979E-3</c:v>
                </c:pt>
                <c:pt idx="5">
                  <c:v>2.276160949152704E-2</c:v>
                </c:pt>
                <c:pt idx="6">
                  <c:v>4.6016171606231442E-2</c:v>
                </c:pt>
                <c:pt idx="7">
                  <c:v>4.864311152815131E-2</c:v>
                </c:pt>
                <c:pt idx="8">
                  <c:v>3.5044144551516887E-2</c:v>
                </c:pt>
                <c:pt idx="9">
                  <c:v>3.766379692794454E-3</c:v>
                </c:pt>
                <c:pt idx="10">
                  <c:v>1.1698741714065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525927822347E-2</c:v>
                </c:pt>
                <c:pt idx="5">
                  <c:v>4.4271414349376689E-2</c:v>
                </c:pt>
                <c:pt idx="6">
                  <c:v>4.352768042290607E-2</c:v>
                </c:pt>
                <c:pt idx="7">
                  <c:v>5.7251171628862195E-2</c:v>
                </c:pt>
                <c:pt idx="8">
                  <c:v>3.7945581405820404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7567371652506244E-3</c:v>
                </c:pt>
                <c:pt idx="1">
                  <c:v>6.500830736832529E-3</c:v>
                </c:pt>
                <c:pt idx="2">
                  <c:v>2.3755754151071784E-2</c:v>
                </c:pt>
                <c:pt idx="3">
                  <c:v>9.1838968342402058E-2</c:v>
                </c:pt>
                <c:pt idx="4">
                  <c:v>2.6424087871712295E-2</c:v>
                </c:pt>
                <c:pt idx="5">
                  <c:v>0.11744083447479575</c:v>
                </c:pt>
                <c:pt idx="6">
                  <c:v>0.11758347584513927</c:v>
                </c:pt>
                <c:pt idx="7">
                  <c:v>0.20003036869124247</c:v>
                </c:pt>
                <c:pt idx="8">
                  <c:v>0.1480596272023493</c:v>
                </c:pt>
                <c:pt idx="9">
                  <c:v>0.12746449124776776</c:v>
                </c:pt>
                <c:pt idx="10">
                  <c:v>0.1361448242714361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159928628019147E-7</c:v>
                </c:pt>
                <c:pt idx="1">
                  <c:v>2.3162471189639019E-7</c:v>
                </c:pt>
                <c:pt idx="2">
                  <c:v>2.8805964401529397E-3</c:v>
                </c:pt>
                <c:pt idx="3">
                  <c:v>3.305048724703075E-3</c:v>
                </c:pt>
                <c:pt idx="4">
                  <c:v>1.7550118633459153E-3</c:v>
                </c:pt>
                <c:pt idx="5">
                  <c:v>2.1578329734128375E-3</c:v>
                </c:pt>
                <c:pt idx="6">
                  <c:v>2.3843362055684073E-3</c:v>
                </c:pt>
                <c:pt idx="7">
                  <c:v>5.7335995141645935E-3</c:v>
                </c:pt>
                <c:pt idx="8">
                  <c:v>6.797250216618432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9117928230533E-2</c:v>
                </c:pt>
                <c:pt idx="1">
                  <c:v>2.3982542771454705E-2</c:v>
                </c:pt>
                <c:pt idx="2">
                  <c:v>1.8034673241399884E-2</c:v>
                </c:pt>
                <c:pt idx="3">
                  <c:v>3.5019520344168928E-2</c:v>
                </c:pt>
                <c:pt idx="4">
                  <c:v>4.1999638270829559E-2</c:v>
                </c:pt>
                <c:pt idx="5">
                  <c:v>6.3468315150607579E-2</c:v>
                </c:pt>
                <c:pt idx="6">
                  <c:v>9.5086353681687233E-2</c:v>
                </c:pt>
                <c:pt idx="7">
                  <c:v>0.12272455636211188</c:v>
                </c:pt>
                <c:pt idx="8">
                  <c:v>0.11019879808564406</c:v>
                </c:pt>
                <c:pt idx="9">
                  <c:v>3.3793346302201127E-2</c:v>
                </c:pt>
                <c:pt idx="10">
                  <c:v>9.927160633702221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689401905276512E-3</c:v>
                </c:pt>
                <c:pt idx="3">
                  <c:v>8.436506674151753E-2</c:v>
                </c:pt>
                <c:pt idx="4">
                  <c:v>2.8157478820829891E-3</c:v>
                </c:pt>
                <c:pt idx="5">
                  <c:v>2.1694504995214011E-7</c:v>
                </c:pt>
                <c:pt idx="6">
                  <c:v>3.4223352811262542E-2</c:v>
                </c:pt>
                <c:pt idx="7">
                  <c:v>9.0605689969686626E-2</c:v>
                </c:pt>
                <c:pt idx="8">
                  <c:v>9.5972765875469268E-2</c:v>
                </c:pt>
                <c:pt idx="9">
                  <c:v>0.11927689466880319</c:v>
                </c:pt>
                <c:pt idx="10">
                  <c:v>9.300591576609462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5277714070256861E-4</c:v>
                </c:pt>
                <c:pt idx="1">
                  <c:v>2.6058716250084565E-3</c:v>
                </c:pt>
                <c:pt idx="2">
                  <c:v>7.0915721078522063E-4</c:v>
                </c:pt>
                <c:pt idx="3">
                  <c:v>5.2985031912436064E-3</c:v>
                </c:pt>
                <c:pt idx="4">
                  <c:v>1.7226684400237152E-2</c:v>
                </c:pt>
                <c:pt idx="5">
                  <c:v>7.2257580448738548E-2</c:v>
                </c:pt>
                <c:pt idx="6">
                  <c:v>1.5371442648063099E-2</c:v>
                </c:pt>
                <c:pt idx="7">
                  <c:v>3.339684640720738E-2</c:v>
                </c:pt>
                <c:pt idx="8">
                  <c:v>2.4546735803197287E-2</c:v>
                </c:pt>
                <c:pt idx="9">
                  <c:v>5.3865467240158497E-3</c:v>
                </c:pt>
                <c:pt idx="10">
                  <c:v>3.27033996337895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440457460456432E-3</c:v>
                </c:pt>
                <c:pt idx="5">
                  <c:v>3.4929093137511018E-2</c:v>
                </c:pt>
                <c:pt idx="6">
                  <c:v>1.8367851520493732E-2</c:v>
                </c:pt>
                <c:pt idx="7">
                  <c:v>4.03007791256051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039600245480559E-3</c:v>
                </c:pt>
                <c:pt idx="1">
                  <c:v>3.8949591118240729E-3</c:v>
                </c:pt>
                <c:pt idx="2">
                  <c:v>2.137765674975891E-2</c:v>
                </c:pt>
                <c:pt idx="3">
                  <c:v>2.1753984096409221E-3</c:v>
                </c:pt>
                <c:pt idx="4">
                  <c:v>4.7376098433465109E-3</c:v>
                </c:pt>
                <c:pt idx="5">
                  <c:v>1.0253943943496227E-2</c:v>
                </c:pt>
                <c:pt idx="6">
                  <c:v>4.9620828865319898E-2</c:v>
                </c:pt>
                <c:pt idx="7">
                  <c:v>3.5727053188743314E-2</c:v>
                </c:pt>
                <c:pt idx="8">
                  <c:v>2.7540125523682752E-2</c:v>
                </c:pt>
                <c:pt idx="9">
                  <c:v>2.8010498549487315E-3</c:v>
                </c:pt>
                <c:pt idx="10">
                  <c:v>1.043550887155200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9535160242343E-2</c:v>
                </c:pt>
                <c:pt idx="1">
                  <c:v>1.8004328980539077E-2</c:v>
                </c:pt>
                <c:pt idx="2">
                  <c:v>1.1101551809851031E-2</c:v>
                </c:pt>
                <c:pt idx="3">
                  <c:v>1.3979308573739149E-2</c:v>
                </c:pt>
                <c:pt idx="4">
                  <c:v>2.7268659971536421E-2</c:v>
                </c:pt>
                <c:pt idx="5">
                  <c:v>0.14782692723334404</c:v>
                </c:pt>
                <c:pt idx="6">
                  <c:v>0.13485627275324794</c:v>
                </c:pt>
                <c:pt idx="7">
                  <c:v>0.15504877286571603</c:v>
                </c:pt>
                <c:pt idx="8">
                  <c:v>0.26200827027857587</c:v>
                </c:pt>
                <c:pt idx="9">
                  <c:v>0.18504429883440607</c:v>
                </c:pt>
                <c:pt idx="10">
                  <c:v>2.0466257096620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39794035538919E-4</c:v>
                </c:pt>
                <c:pt idx="2">
                  <c:v>4.3909743414326333E-8</c:v>
                </c:pt>
                <c:pt idx="4">
                  <c:v>5.4395795462375898E-3</c:v>
                </c:pt>
                <c:pt idx="5">
                  <c:v>2.4895642330523413E-2</c:v>
                </c:pt>
                <c:pt idx="6">
                  <c:v>4.6209083883562665E-2</c:v>
                </c:pt>
                <c:pt idx="7">
                  <c:v>2.22282267482802E-3</c:v>
                </c:pt>
                <c:pt idx="8">
                  <c:v>0.15203549036761585</c:v>
                </c:pt>
                <c:pt idx="9">
                  <c:v>0.11962482042561559</c:v>
                </c:pt>
                <c:pt idx="10">
                  <c:v>1.34443460367047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724722063399369E-3</c:v>
                </c:pt>
                <c:pt idx="3">
                  <c:v>1.3378657060556869E-3</c:v>
                </c:pt>
                <c:pt idx="4">
                  <c:v>3.9875012198886698E-3</c:v>
                </c:pt>
                <c:pt idx="5">
                  <c:v>9.1956095404158666E-2</c:v>
                </c:pt>
                <c:pt idx="6">
                  <c:v>4.2744895608013367E-2</c:v>
                </c:pt>
                <c:pt idx="7">
                  <c:v>1.0769867741116922E-2</c:v>
                </c:pt>
                <c:pt idx="8">
                  <c:v>4.9896566715064098E-3</c:v>
                </c:pt>
                <c:pt idx="10">
                  <c:v>3.283773272877543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410420784605437E-3</c:v>
                </c:pt>
                <c:pt idx="6">
                  <c:v>1.2485722029173411E-2</c:v>
                </c:pt>
                <c:pt idx="7">
                  <c:v>7.1618693138423339E-2</c:v>
                </c:pt>
                <c:pt idx="8">
                  <c:v>3.96709062008066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9795366206804E-2</c:v>
                </c:pt>
                <c:pt idx="1">
                  <c:v>1.8004328980539077E-2</c:v>
                </c:pt>
                <c:pt idx="2">
                  <c:v>7.9290356937676814E-3</c:v>
                </c:pt>
                <c:pt idx="3">
                  <c:v>7.2004007892229188E-3</c:v>
                </c:pt>
                <c:pt idx="4">
                  <c:v>1.7841579205410161E-2</c:v>
                </c:pt>
                <c:pt idx="5">
                  <c:v>3.0975189498661959E-2</c:v>
                </c:pt>
                <c:pt idx="6">
                  <c:v>3.3416571232498499E-2</c:v>
                </c:pt>
                <c:pt idx="7">
                  <c:v>7.0437389311347728E-2</c:v>
                </c:pt>
                <c:pt idx="8">
                  <c:v>6.5312217038646994E-2</c:v>
                </c:pt>
                <c:pt idx="9">
                  <c:v>6.5419478408790477E-2</c:v>
                </c:pt>
                <c:pt idx="10">
                  <c:v>6.98907332718747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9E-2</c:v>
                </c:pt>
                <c:pt idx="4">
                  <c:v>5.7701549538145838E-2</c:v>
                </c:pt>
                <c:pt idx="5">
                  <c:v>0.14579996000114001</c:v>
                </c:pt>
                <c:pt idx="6">
                  <c:v>0.1286472547711171</c:v>
                </c:pt>
                <c:pt idx="7">
                  <c:v>0.1797236450590925</c:v>
                </c:pt>
                <c:pt idx="8">
                  <c:v>0.24907140238754868</c:v>
                </c:pt>
                <c:pt idx="9">
                  <c:v>0.15553268833943146</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731316775892473E-2</c:v>
                </c:pt>
                <c:pt idx="1">
                  <c:v>1.9129857743461352E-3</c:v>
                </c:pt>
                <c:pt idx="2">
                  <c:v>4.1464705082516432E-3</c:v>
                </c:pt>
                <c:pt idx="3">
                  <c:v>1.67907900063155E-2</c:v>
                </c:pt>
                <c:pt idx="4">
                  <c:v>7.3650110589429774E-2</c:v>
                </c:pt>
                <c:pt idx="5">
                  <c:v>0.15952220866396205</c:v>
                </c:pt>
                <c:pt idx="6">
                  <c:v>9.692054606282538E-2</c:v>
                </c:pt>
                <c:pt idx="7">
                  <c:v>0.2127471216943462</c:v>
                </c:pt>
                <c:pt idx="8">
                  <c:v>0.20163334178776571</c:v>
                </c:pt>
                <c:pt idx="9">
                  <c:v>0.14782979201706783</c:v>
                </c:pt>
                <c:pt idx="10">
                  <c:v>4.31153161197973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103747573246747E-5</c:v>
                </c:pt>
                <c:pt idx="1">
                  <c:v>5.0137316344989149E-5</c:v>
                </c:pt>
                <c:pt idx="2">
                  <c:v>2.1554419466856484E-3</c:v>
                </c:pt>
                <c:pt idx="3">
                  <c:v>5.4537419824124429E-3</c:v>
                </c:pt>
                <c:pt idx="4">
                  <c:v>2.4214862775212228E-2</c:v>
                </c:pt>
                <c:pt idx="5">
                  <c:v>8.7335162919249268E-2</c:v>
                </c:pt>
                <c:pt idx="6">
                  <c:v>2.6111339030140245E-3</c:v>
                </c:pt>
                <c:pt idx="7">
                  <c:v>5.6293394711733079E-2</c:v>
                </c:pt>
                <c:pt idx="8">
                  <c:v>2.9503339111178121E-3</c:v>
                </c:pt>
                <c:pt idx="9">
                  <c:v>1.1103747573246747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55420713203446E-7</c:v>
                </c:pt>
                <c:pt idx="4">
                  <c:v>2.5214711413600571E-2</c:v>
                </c:pt>
                <c:pt idx="5">
                  <c:v>6.6089213352081132E-3</c:v>
                </c:pt>
                <c:pt idx="6">
                  <c:v>4.6481748361028419E-2</c:v>
                </c:pt>
                <c:pt idx="7">
                  <c:v>9.4329014170329937E-3</c:v>
                </c:pt>
                <c:pt idx="8">
                  <c:v>7.6488603464135482E-2</c:v>
                </c:pt>
                <c:pt idx="9">
                  <c:v>7.4492826589462505E-2</c:v>
                </c:pt>
                <c:pt idx="10">
                  <c:v>4.31153161197973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410031203478706E-2</c:v>
                </c:pt>
                <c:pt idx="1">
                  <c:v>1.6038584159198909E-3</c:v>
                </c:pt>
                <c:pt idx="3">
                  <c:v>2.5580014968630939E-4</c:v>
                </c:pt>
                <c:pt idx="4">
                  <c:v>4.6996124597294348E-4</c:v>
                </c:pt>
                <c:pt idx="5">
                  <c:v>1.2751874877517872E-2</c:v>
                </c:pt>
                <c:pt idx="6">
                  <c:v>1.7330198375268488E-2</c:v>
                </c:pt>
                <c:pt idx="7">
                  <c:v>5.9306089801655901E-2</c:v>
                </c:pt>
                <c:pt idx="8">
                  <c:v>7.489063782653297E-3</c:v>
                </c:pt>
                <c:pt idx="9">
                  <c:v>7.11782605375538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310181824840522E-2</c:v>
                </c:pt>
                <c:pt idx="1">
                  <c:v>2.5899004208125527E-4</c:v>
                </c:pt>
                <c:pt idx="2">
                  <c:v>1.9907120073588626E-3</c:v>
                </c:pt>
                <c:pt idx="3">
                  <c:v>1.1081247874216747E-2</c:v>
                </c:pt>
                <c:pt idx="4">
                  <c:v>2.3750575154644037E-2</c:v>
                </c:pt>
                <c:pt idx="5">
                  <c:v>5.282624953198678E-2</c:v>
                </c:pt>
                <c:pt idx="6">
                  <c:v>3.0497465423514464E-2</c:v>
                </c:pt>
                <c:pt idx="7">
                  <c:v>8.7714735763924204E-2</c:v>
                </c:pt>
                <c:pt idx="8">
                  <c:v>0.11470534062985911</c:v>
                </c:pt>
                <c:pt idx="9">
                  <c:v>2.14760114247822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c:v>
                </c:pt>
                <c:pt idx="2">
                  <c:v>3.2899999999999999E-2</c:v>
                </c:pt>
                <c:pt idx="4">
                  <c:v>3.0999999999999999E-3</c:v>
                </c:pt>
                <c:pt idx="5">
                  <c:v>0.21490000000000001</c:v>
                </c:pt>
                <c:pt idx="6">
                  <c:v>3.1600000000000003E-2</c:v>
                </c:pt>
                <c:pt idx="7">
                  <c:v>0.27050000000000002</c:v>
                </c:pt>
                <c:pt idx="8">
                  <c:v>0.286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55264070481349E-2</c:v>
                </c:pt>
                <c:pt idx="1">
                  <c:v>2.3478993829360306E-2</c:v>
                </c:pt>
                <c:pt idx="2">
                  <c:v>4.2469415214930771E-2</c:v>
                </c:pt>
                <c:pt idx="3">
                  <c:v>2.0691145323150736E-2</c:v>
                </c:pt>
                <c:pt idx="4">
                  <c:v>5.0283691171922343E-2</c:v>
                </c:pt>
                <c:pt idx="5">
                  <c:v>7.2573653990922943E-2</c:v>
                </c:pt>
                <c:pt idx="6">
                  <c:v>0.14498752408549265</c:v>
                </c:pt>
                <c:pt idx="7">
                  <c:v>0.16484856603912199</c:v>
                </c:pt>
                <c:pt idx="8">
                  <c:v>0.37004087706994043</c:v>
                </c:pt>
                <c:pt idx="9">
                  <c:v>7.1528919243590547E-2</c:v>
                </c:pt>
                <c:pt idx="10">
                  <c:v>2.941949961085954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80148949507061E-4</c:v>
                </c:pt>
                <c:pt idx="1">
                  <c:v>1.1631023875368959E-3</c:v>
                </c:pt>
                <c:pt idx="2">
                  <c:v>1.8965262673961748E-2</c:v>
                </c:pt>
                <c:pt idx="3">
                  <c:v>2.6818242812760845E-4</c:v>
                </c:pt>
                <c:pt idx="4">
                  <c:v>9.574218484857945E-4</c:v>
                </c:pt>
                <c:pt idx="5">
                  <c:v>4.4826297226509097E-2</c:v>
                </c:pt>
                <c:pt idx="6">
                  <c:v>1.6767116486051704E-2</c:v>
                </c:pt>
                <c:pt idx="7">
                  <c:v>9.1577178768640258E-2</c:v>
                </c:pt>
                <c:pt idx="8">
                  <c:v>0.18763192770146261</c:v>
                </c:pt>
                <c:pt idx="9">
                  <c:v>6.9401366463258604E-2</c:v>
                </c:pt>
                <c:pt idx="10">
                  <c:v>2.545222163220531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70285952227305E-4</c:v>
                </c:pt>
                <c:pt idx="4">
                  <c:v>3.5588276616581954E-2</c:v>
                </c:pt>
                <c:pt idx="5">
                  <c:v>3.3379376507520308E-6</c:v>
                </c:pt>
                <c:pt idx="6">
                  <c:v>8.1091007901449769E-2</c:v>
                </c:pt>
                <c:pt idx="7">
                  <c:v>1.845596888942766E-2</c:v>
                </c:pt>
                <c:pt idx="8">
                  <c:v>0.106273368202363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56110292314673E-3</c:v>
                </c:pt>
                <c:pt idx="6">
                  <c:v>2.055668902215638E-2</c:v>
                </c:pt>
                <c:pt idx="7">
                  <c:v>5.3010324285858298E-3</c:v>
                </c:pt>
                <c:pt idx="8">
                  <c:v>5.19816980679922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48759721464007E-2</c:v>
                </c:pt>
                <c:pt idx="1">
                  <c:v>2.2315891441823412E-2</c:v>
                </c:pt>
                <c:pt idx="2">
                  <c:v>2.3504152540969023E-2</c:v>
                </c:pt>
                <c:pt idx="3">
                  <c:v>1.8027351865791661E-2</c:v>
                </c:pt>
                <c:pt idx="4">
                  <c:v>1.3737992706854591E-2</c:v>
                </c:pt>
                <c:pt idx="5">
                  <c:v>2.7744018826763098E-2</c:v>
                </c:pt>
                <c:pt idx="6">
                  <c:v>2.6572710675834769E-2</c:v>
                </c:pt>
                <c:pt idx="7">
                  <c:v>4.9514385952468216E-2</c:v>
                </c:pt>
                <c:pt idx="8">
                  <c:v>2.415388309812173E-2</c:v>
                </c:pt>
                <c:pt idx="9">
                  <c:v>2.1275527803319375E-3</c:v>
                </c:pt>
                <c:pt idx="10">
                  <c:v>3.967277978654236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5</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302073575181155E-2</c:v>
                </c:pt>
                <c:pt idx="1">
                  <c:v>9.5448474519326774E-3</c:v>
                </c:pt>
                <c:pt idx="2">
                  <c:v>2.0414402762151417E-2</c:v>
                </c:pt>
                <c:pt idx="3">
                  <c:v>8.3198453783614595E-3</c:v>
                </c:pt>
                <c:pt idx="4">
                  <c:v>5.6069009084203557E-2</c:v>
                </c:pt>
                <c:pt idx="5">
                  <c:v>9.4112313969553191E-2</c:v>
                </c:pt>
                <c:pt idx="6">
                  <c:v>0.21823369141685761</c:v>
                </c:pt>
                <c:pt idx="7">
                  <c:v>0.15309383364501958</c:v>
                </c:pt>
                <c:pt idx="8">
                  <c:v>0.34216366229016659</c:v>
                </c:pt>
                <c:pt idx="9">
                  <c:v>8.374632042657273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821045711575339E-3</c:v>
                </c:pt>
                <c:pt idx="4">
                  <c:v>4.3075514490369296E-2</c:v>
                </c:pt>
                <c:pt idx="5">
                  <c:v>2.3866378714035527E-3</c:v>
                </c:pt>
                <c:pt idx="6">
                  <c:v>0.1318782180230253</c:v>
                </c:pt>
                <c:pt idx="7">
                  <c:v>1.8808886004624749E-2</c:v>
                </c:pt>
                <c:pt idx="8">
                  <c:v>0.1280691479431342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397235019096868E-3</c:v>
                </c:pt>
                <c:pt idx="2">
                  <c:v>1.8060220788077536E-2</c:v>
                </c:pt>
                <c:pt idx="4">
                  <c:v>8.2285408759834797E-3</c:v>
                </c:pt>
                <c:pt idx="5">
                  <c:v>8.2605410433750678E-2</c:v>
                </c:pt>
                <c:pt idx="6">
                  <c:v>2.9488183972865761E-2</c:v>
                </c:pt>
                <c:pt idx="7">
                  <c:v>7.7911193928028671E-2</c:v>
                </c:pt>
                <c:pt idx="8">
                  <c:v>0.12471069570028315</c:v>
                </c:pt>
                <c:pt idx="9">
                  <c:v>8.374632042657273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723209885868182E-2</c:v>
                </c:pt>
                <c:pt idx="7">
                  <c:v>4.262343039178944E-3</c:v>
                </c:pt>
                <c:pt idx="8">
                  <c:v>7.0120074535225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02073575181155E-2</c:v>
                </c:pt>
                <c:pt idx="1">
                  <c:v>7.0051239500229902E-3</c:v>
                </c:pt>
                <c:pt idx="2">
                  <c:v>2.3541819740738805E-3</c:v>
                </c:pt>
                <c:pt idx="3">
                  <c:v>5.1377408072039252E-3</c:v>
                </c:pt>
                <c:pt idx="4">
                  <c:v>4.7649537178507794E-3</c:v>
                </c:pt>
                <c:pt idx="5">
                  <c:v>9.1202656643989671E-3</c:v>
                </c:pt>
                <c:pt idx="6">
                  <c:v>3.4144079535098397E-2</c:v>
                </c:pt>
                <c:pt idx="7">
                  <c:v>5.2111410673187225E-2</c:v>
                </c:pt>
                <c:pt idx="8">
                  <c:v>1.92637441115233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54865016887852E-2</c:v>
                </c:pt>
                <c:pt idx="1">
                  <c:v>1.7854306339291241E-2</c:v>
                </c:pt>
                <c:pt idx="2">
                  <c:v>1.9757008334856999E-2</c:v>
                </c:pt>
                <c:pt idx="3">
                  <c:v>7.1916156947476731E-2</c:v>
                </c:pt>
                <c:pt idx="4">
                  <c:v>8.5814770730434295E-2</c:v>
                </c:pt>
                <c:pt idx="5">
                  <c:v>9.9084588506396107E-2</c:v>
                </c:pt>
                <c:pt idx="6">
                  <c:v>0.10769317427022629</c:v>
                </c:pt>
                <c:pt idx="7">
                  <c:v>0.1868790002725855</c:v>
                </c:pt>
                <c:pt idx="8">
                  <c:v>0.1795843643903467</c:v>
                </c:pt>
                <c:pt idx="9">
                  <c:v>0.14013474962838257</c:v>
                </c:pt>
                <c:pt idx="10">
                  <c:v>5.952701556311577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598E-2</c:v>
                </c:pt>
                <c:pt idx="5">
                  <c:v>0.21572543411195483</c:v>
                </c:pt>
                <c:pt idx="6">
                  <c:v>0.35475670948466692</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316723015151536E-2</c:v>
                </c:pt>
                <c:pt idx="1">
                  <c:v>5.8300944817091241E-3</c:v>
                </c:pt>
                <c:pt idx="2">
                  <c:v>8.8947086516282838E-3</c:v>
                </c:pt>
                <c:pt idx="3">
                  <c:v>2.7998239806193429E-2</c:v>
                </c:pt>
                <c:pt idx="4">
                  <c:v>0.10843584406279787</c:v>
                </c:pt>
                <c:pt idx="5">
                  <c:v>6.6817643340029861E-2</c:v>
                </c:pt>
                <c:pt idx="6">
                  <c:v>0.21500199380686644</c:v>
                </c:pt>
                <c:pt idx="7">
                  <c:v>0.26504918493742546</c:v>
                </c:pt>
                <c:pt idx="8">
                  <c:v>0.15835274753479345</c:v>
                </c:pt>
                <c:pt idx="9">
                  <c:v>4.9964832384693902E-2</c:v>
                </c:pt>
                <c:pt idx="10">
                  <c:v>1.7337987978710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4462743420609452E-6</c:v>
                </c:pt>
                <c:pt idx="1">
                  <c:v>2.09235126133814E-3</c:v>
                </c:pt>
                <c:pt idx="2">
                  <c:v>4.305186817198904E-4</c:v>
                </c:pt>
                <c:pt idx="4">
                  <c:v>4.0154085352153021E-5</c:v>
                </c:pt>
                <c:pt idx="5">
                  <c:v>2.8101193110492283E-3</c:v>
                </c:pt>
                <c:pt idx="6">
                  <c:v>4.1326807232944154E-4</c:v>
                </c:pt>
                <c:pt idx="7">
                  <c:v>3.5370553626848478E-3</c:v>
                </c:pt>
                <c:pt idx="8">
                  <c:v>3.752219662659457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524499781294395E-2</c:v>
                </c:pt>
                <c:pt idx="1">
                  <c:v>3.0788563674620463E-4</c:v>
                </c:pt>
                <c:pt idx="2">
                  <c:v>2.0201725298403519E-3</c:v>
                </c:pt>
                <c:pt idx="3">
                  <c:v>2.9713822059589483E-2</c:v>
                </c:pt>
                <c:pt idx="4">
                  <c:v>3.7113870680302571E-2</c:v>
                </c:pt>
                <c:pt idx="5">
                  <c:v>1.7732229765588213E-2</c:v>
                </c:pt>
                <c:pt idx="6">
                  <c:v>2.4990044880482353E-2</c:v>
                </c:pt>
                <c:pt idx="7">
                  <c:v>6.5161430428574696E-2</c:v>
                </c:pt>
                <c:pt idx="8">
                  <c:v>8.7280141403426992E-2</c:v>
                </c:pt>
                <c:pt idx="9">
                  <c:v>0.10901798911563682</c:v>
                </c:pt>
                <c:pt idx="10">
                  <c:v>5.25631687935848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109278530617445E-3</c:v>
                </c:pt>
                <c:pt idx="1">
                  <c:v>2.4577297466916054E-4</c:v>
                </c:pt>
                <c:pt idx="2">
                  <c:v>1.1109232668569356E-3</c:v>
                </c:pt>
                <c:pt idx="3">
                  <c:v>4.9325393046608832E-4</c:v>
                </c:pt>
                <c:pt idx="4">
                  <c:v>3.5634161230261451E-3</c:v>
                </c:pt>
                <c:pt idx="5">
                  <c:v>1.3970158908553118E-2</c:v>
                </c:pt>
                <c:pt idx="6">
                  <c:v>7.7404630335184488E-3</c:v>
                </c:pt>
                <c:pt idx="7">
                  <c:v>1.877042058448497E-2</c:v>
                </c:pt>
                <c:pt idx="8">
                  <c:v>1.1120805618114115E-2</c:v>
                </c:pt>
                <c:pt idx="9">
                  <c:v>1.22748195959396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790845683411997E-4</c:v>
                </c:pt>
                <c:pt idx="1">
                  <c:v>1.8695644068788015E-3</c:v>
                </c:pt>
                <c:pt idx="2">
                  <c:v>1.0806010922225264E-4</c:v>
                </c:pt>
                <c:pt idx="3">
                  <c:v>8.0737645313691379E-4</c:v>
                </c:pt>
                <c:pt idx="4">
                  <c:v>2.624971401990992E-3</c:v>
                </c:pt>
                <c:pt idx="5">
                  <c:v>1.1129585192072491E-2</c:v>
                </c:pt>
                <c:pt idx="6">
                  <c:v>3.8826625890802722E-3</c:v>
                </c:pt>
                <c:pt idx="7">
                  <c:v>6.9707255257826376E-3</c:v>
                </c:pt>
                <c:pt idx="8">
                  <c:v>4.157881709353794E-3</c:v>
                </c:pt>
                <c:pt idx="9">
                  <c:v>1.6670887537985396E-3</c:v>
                </c:pt>
                <c:pt idx="10">
                  <c:v>4.983285627813463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180082651355523E-2</c:v>
                </c:pt>
                <c:pt idx="1">
                  <c:v>1.3338732059658933E-2</c:v>
                </c:pt>
                <c:pt idx="2">
                  <c:v>1.6087333747217564E-2</c:v>
                </c:pt>
                <c:pt idx="3">
                  <c:v>4.090170450428425E-2</c:v>
                </c:pt>
                <c:pt idx="4">
                  <c:v>4.2472358439762437E-2</c:v>
                </c:pt>
                <c:pt idx="5">
                  <c:v>5.3442495329133047E-2</c:v>
                </c:pt>
                <c:pt idx="6">
                  <c:v>7.0666735694815769E-2</c:v>
                </c:pt>
                <c:pt idx="7">
                  <c:v>9.2439368371058372E-2</c:v>
                </c:pt>
                <c:pt idx="8">
                  <c:v>7.3273315996792293E-2</c:v>
                </c:pt>
                <c:pt idx="9">
                  <c:v>1.7174852163007546E-2</c:v>
                </c:pt>
                <c:pt idx="10">
                  <c:v>1.980561141717505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325241975488328E-2</c:v>
                </c:pt>
                <c:pt idx="3">
                  <c:v>7.8544178843273204E-3</c:v>
                </c:pt>
                <c:pt idx="4">
                  <c:v>4.021002413642601E-6</c:v>
                </c:pt>
                <c:pt idx="5">
                  <c:v>2.9255772409252888E-2</c:v>
                </c:pt>
                <c:pt idx="6">
                  <c:v>1.1554063221143895E-2</c:v>
                </c:pt>
                <c:pt idx="7">
                  <c:v>0.12426469957313828</c:v>
                </c:pt>
                <c:pt idx="8">
                  <c:v>0.13704075260814963</c:v>
                </c:pt>
                <c:pt idx="9">
                  <c:v>4.9143614445321927E-2</c:v>
                </c:pt>
                <c:pt idx="10">
                  <c:v>1.73379879787106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4258240478993E-2</c:v>
                </c:pt>
                <c:pt idx="6">
                  <c:v>8.97559542339557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8676388325579563E-3</c:v>
                </c:pt>
                <c:pt idx="7">
                  <c:v>4.11365420765052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4991481039663208E-2</c:v>
                </c:pt>
                <c:pt idx="1">
                  <c:v>5.8300944817091241E-3</c:v>
                </c:pt>
                <c:pt idx="2">
                  <c:v>8.8947086516282855E-3</c:v>
                </c:pt>
                <c:pt idx="3">
                  <c:v>2.0143821921866107E-2</c:v>
                </c:pt>
                <c:pt idx="4">
                  <c:v>6.3089240655594292E-2</c:v>
                </c:pt>
                <c:pt idx="5">
                  <c:v>3.2694232098219013E-2</c:v>
                </c:pt>
                <c:pt idx="6">
                  <c:v>0.11369197635176677</c:v>
                </c:pt>
                <c:pt idx="7">
                  <c:v>9.9647943287781954E-2</c:v>
                </c:pt>
                <c:pt idx="8">
                  <c:v>2.1311994926643811E-2</c:v>
                </c:pt>
                <c:pt idx="9">
                  <c:v>8.212179393719717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5987114333624997E-2</c:v>
                </c:pt>
                <c:pt idx="1">
                  <c:v>6.0732707532325939E-3</c:v>
                </c:pt>
                <c:pt idx="2">
                  <c:v>8.8722276757410151E-3</c:v>
                </c:pt>
                <c:pt idx="3">
                  <c:v>2.6528305498242234E-2</c:v>
                </c:pt>
                <c:pt idx="4">
                  <c:v>0.10924557874443218</c:v>
                </c:pt>
                <c:pt idx="5">
                  <c:v>6.8545123084831822E-2</c:v>
                </c:pt>
                <c:pt idx="6">
                  <c:v>0.21779239683916565</c:v>
                </c:pt>
                <c:pt idx="7">
                  <c:v>0.26116784386660485</c:v>
                </c:pt>
                <c:pt idx="8">
                  <c:v>0.15849901127415009</c:v>
                </c:pt>
                <c:pt idx="9">
                  <c:v>5.249614448092027E-2</c:v>
                </c:pt>
                <c:pt idx="10">
                  <c:v>1.4792983449054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3329241847568E-2</c:v>
                </c:pt>
                <c:pt idx="3">
                  <c:v>7.2872138615898722E-3</c:v>
                </c:pt>
                <c:pt idx="4">
                  <c:v>5.7310726737290886E-4</c:v>
                </c:pt>
                <c:pt idx="5">
                  <c:v>2.9263017236131936E-2</c:v>
                </c:pt>
                <c:pt idx="6">
                  <c:v>1.1557381920744281E-2</c:v>
                </c:pt>
                <c:pt idx="7">
                  <c:v>0.12438438730688962</c:v>
                </c:pt>
                <c:pt idx="8">
                  <c:v>0.1369880787296188</c:v>
                </c:pt>
                <c:pt idx="9">
                  <c:v>5.1735760166154061E-2</c:v>
                </c:pt>
                <c:pt idx="10">
                  <c:v>1.4762961663508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54406998810798E-2</c:v>
                </c:pt>
                <c:pt idx="6">
                  <c:v>8.977932371618711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5.9971748637932061E-5</c:v>
                </c:pt>
                <c:pt idx="5">
                  <c:v>4.8088364600939191E-3</c:v>
                </c:pt>
                <c:pt idx="6">
                  <c:v>6.8662265506422814E-4</c:v>
                </c:pt>
                <c:pt idx="7">
                  <c:v>4.04604250201417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4654190148868197E-2</c:v>
                </c:pt>
                <c:pt idx="1">
                  <c:v>6.0732707532325939E-3</c:v>
                </c:pt>
                <c:pt idx="2">
                  <c:v>8.8722276757410151E-3</c:v>
                </c:pt>
                <c:pt idx="3">
                  <c:v>1.9241091636652361E-2</c:v>
                </c:pt>
                <c:pt idx="4">
                  <c:v>6.3258092729610554E-2</c:v>
                </c:pt>
                <c:pt idx="5">
                  <c:v>3.4473269388605975E-2</c:v>
                </c:pt>
                <c:pt idx="6">
                  <c:v>0.11576906854717002</c:v>
                </c:pt>
                <c:pt idx="7">
                  <c:v>9.6323031539573542E-2</c:v>
                </c:pt>
                <c:pt idx="8">
                  <c:v>2.1510932544531267E-2</c:v>
                </c:pt>
                <c:pt idx="9">
                  <c:v>7.6038431476621159E-4</c:v>
                </c:pt>
                <c:pt idx="10">
                  <c:v>3.002178554569533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616463290543E-2</c:v>
                </c:pt>
                <c:pt idx="1">
                  <c:v>1.943607065106312E-2</c:v>
                </c:pt>
                <c:pt idx="2">
                  <c:v>2.1086411109909761E-2</c:v>
                </c:pt>
                <c:pt idx="3">
                  <c:v>4.6569808706570494E-2</c:v>
                </c:pt>
                <c:pt idx="4">
                  <c:v>7.4623720110834207E-2</c:v>
                </c:pt>
                <c:pt idx="5">
                  <c:v>9.5998943434238371E-2</c:v>
                </c:pt>
                <c:pt idx="6">
                  <c:v>0.12652950462795648</c:v>
                </c:pt>
                <c:pt idx="7">
                  <c:v>0.1782603291847292</c:v>
                </c:pt>
                <c:pt idx="8">
                  <c:v>0.23029496867179489</c:v>
                </c:pt>
                <c:pt idx="9">
                  <c:v>0.103249599446479</c:v>
                </c:pt>
                <c:pt idx="10">
                  <c:v>8.34090275931339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90446963220967E-8</c:v>
                </c:pt>
                <c:pt idx="2">
                  <c:v>2.2756016812589938E-8</c:v>
                </c:pt>
                <c:pt idx="3">
                  <c:v>6.2569839800391868E-3</c:v>
                </c:pt>
                <c:pt idx="4">
                  <c:v>3.4853687501442609E-3</c:v>
                </c:pt>
                <c:pt idx="5">
                  <c:v>3.6785679830550586E-3</c:v>
                </c:pt>
                <c:pt idx="6">
                  <c:v>2.0019274203202445E-3</c:v>
                </c:pt>
                <c:pt idx="7">
                  <c:v>6.2492664394801743E-3</c:v>
                </c:pt>
                <c:pt idx="8">
                  <c:v>1.5833090353796577E-3</c:v>
                </c:pt>
                <c:pt idx="9">
                  <c:v>1.17089459079409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921771340623941E-3</c:v>
                </c:pt>
                <c:pt idx="1">
                  <c:v>2.1420635230555356E-3</c:v>
                </c:pt>
                <c:pt idx="2">
                  <c:v>2.7072696665837374E-3</c:v>
                </c:pt>
                <c:pt idx="3">
                  <c:v>7.9412263527332237E-3</c:v>
                </c:pt>
                <c:pt idx="4">
                  <c:v>2.4591218049615334E-2</c:v>
                </c:pt>
                <c:pt idx="5">
                  <c:v>1.4845139184221803E-2</c:v>
                </c:pt>
                <c:pt idx="6">
                  <c:v>3.1595123419666069E-2</c:v>
                </c:pt>
                <c:pt idx="7">
                  <c:v>5.7402361241414859E-2</c:v>
                </c:pt>
                <c:pt idx="8">
                  <c:v>0.11442790950146151</c:v>
                </c:pt>
                <c:pt idx="9">
                  <c:v>7.4890550012087637E-2</c:v>
                </c:pt>
                <c:pt idx="10">
                  <c:v>7.092809486774834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106726651197564E-4</c:v>
                </c:pt>
                <c:pt idx="3">
                  <c:v>2.5752724158044463E-4</c:v>
                </c:pt>
                <c:pt idx="4">
                  <c:v>7.6755849657293186E-4</c:v>
                </c:pt>
                <c:pt idx="5">
                  <c:v>1.7700729967702365E-2</c:v>
                </c:pt>
                <c:pt idx="6">
                  <c:v>8.2280119803874781E-3</c:v>
                </c:pt>
                <c:pt idx="7">
                  <c:v>2.0731036897066631E-3</c:v>
                </c:pt>
                <c:pt idx="8">
                  <c:v>9.6046450195280144E-4</c:v>
                </c:pt>
                <c:pt idx="10">
                  <c:v>6.320971298628553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7868256623146334E-5</c:v>
                </c:pt>
                <c:pt idx="4">
                  <c:v>4.6582866759189469E-3</c:v>
                </c:pt>
                <c:pt idx="5">
                  <c:v>2.7605649081307319E-5</c:v>
                </c:pt>
                <c:pt idx="6">
                  <c:v>1.0789057334480693E-2</c:v>
                </c:pt>
                <c:pt idx="7">
                  <c:v>2.4157728932773675E-3</c:v>
                </c:pt>
                <c:pt idx="8">
                  <c:v>1.42954819018956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155416813537E-2</c:v>
                </c:pt>
                <c:pt idx="1">
                  <c:v>1.7294007128007584E-2</c:v>
                </c:pt>
                <c:pt idx="2">
                  <c:v>1.7768446022189452E-2</c:v>
                </c:pt>
                <c:pt idx="3">
                  <c:v>3.2114071132217641E-2</c:v>
                </c:pt>
                <c:pt idx="4">
                  <c:v>4.1121288138582734E-2</c:v>
                </c:pt>
                <c:pt idx="5">
                  <c:v>5.9746900650177827E-2</c:v>
                </c:pt>
                <c:pt idx="6">
                  <c:v>7.3915384473101989E-2</c:v>
                </c:pt>
                <c:pt idx="7">
                  <c:v>0.11011982492085014</c:v>
                </c:pt>
                <c:pt idx="8">
                  <c:v>9.9027803731105257E-2</c:v>
                </c:pt>
                <c:pt idx="9">
                  <c:v>2.8347340488483426E-2</c:v>
                </c:pt>
                <c:pt idx="10">
                  <c:v>1.24746117540869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91E-2</c:v>
                </c:pt>
                <c:pt idx="1">
                  <c:v>2.5712148835382802E-2</c:v>
                </c:pt>
                <c:pt idx="2">
                  <c:v>3.3589224880169168E-2</c:v>
                </c:pt>
                <c:pt idx="3">
                  <c:v>4.7555465818613675E-2</c:v>
                </c:pt>
                <c:pt idx="4">
                  <c:v>7.2169314610381535E-2</c:v>
                </c:pt>
                <c:pt idx="5">
                  <c:v>0.11538975237199361</c:v>
                </c:pt>
                <c:pt idx="6">
                  <c:v>0.13910064653920554</c:v>
                </c:pt>
                <c:pt idx="7">
                  <c:v>0.18415888055193394</c:v>
                </c:pt>
                <c:pt idx="8">
                  <c:v>0.19567579739573701</c:v>
                </c:pt>
                <c:pt idx="9">
                  <c:v>0.13733259935179568</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2489956130536928E-7</c:v>
                </c:pt>
                <c:pt idx="1">
                  <c:v>2.0803330605509118E-6</c:v>
                </c:pt>
                <c:pt idx="2">
                  <c:v>3.2298779269996632E-6</c:v>
                </c:pt>
                <c:pt idx="3">
                  <c:v>6.9812717608735983E-3</c:v>
                </c:pt>
                <c:pt idx="4">
                  <c:v>7.5990963650850868E-3</c:v>
                </c:pt>
                <c:pt idx="5">
                  <c:v>3.5924220732757128E-3</c:v>
                </c:pt>
                <c:pt idx="6">
                  <c:v>3.2777212980458176E-3</c:v>
                </c:pt>
                <c:pt idx="7">
                  <c:v>4.1556947684890846E-3</c:v>
                </c:pt>
                <c:pt idx="8">
                  <c:v>1.8617436727184685E-3</c:v>
                </c:pt>
                <c:pt idx="9">
                  <c:v>1.4410703024494579E-3</c:v>
                </c:pt>
                <c:pt idx="10">
                  <c:v>1.286803954979945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8594627955507E-2</c:v>
                </c:pt>
                <c:pt idx="1">
                  <c:v>2.3980694063106052E-2</c:v>
                </c:pt>
                <c:pt idx="2">
                  <c:v>2.0912039803625826E-2</c:v>
                </c:pt>
                <c:pt idx="3">
                  <c:v>3.1343297307998411E-2</c:v>
                </c:pt>
                <c:pt idx="4">
                  <c:v>3.6155553769090396E-2</c:v>
                </c:pt>
                <c:pt idx="5">
                  <c:v>6.2033726050744704E-2</c:v>
                </c:pt>
                <c:pt idx="6">
                  <c:v>9.4192968589209822E-2</c:v>
                </c:pt>
                <c:pt idx="7">
                  <c:v>0.12430246110778739</c:v>
                </c:pt>
                <c:pt idx="8">
                  <c:v>0.11513430462954402</c:v>
                </c:pt>
                <c:pt idx="9">
                  <c:v>3.235227599975167E-2</c:v>
                </c:pt>
                <c:pt idx="10">
                  <c:v>9.92714776566267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34362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98746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75926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6706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45506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63072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73715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1026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40432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32819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0176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88230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03855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29559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1516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77758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209735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47707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6192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3817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9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31954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77145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054486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3485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2896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5576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603797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702652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282476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10068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451885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77728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099991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498818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30760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131231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891902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00291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431936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72772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509963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33852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09667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959349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5224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01770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153773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81189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23532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169083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7453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604175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030380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6857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33979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762226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711759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13307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72216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338825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349165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488569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54592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579273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21789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64371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265618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993205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56934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250635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07556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31088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306576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735032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155990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3093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3672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56098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77719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922769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666367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129655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32010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22335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044969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5371651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29564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070972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56819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275574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241896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3754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8280</Words>
  <Application>Microsoft Office PowerPoint</Application>
  <PresentationFormat>On-screen Show (16:9)</PresentationFormat>
  <Paragraphs>2827</Paragraphs>
  <Slides>9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2"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4:4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